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805" r:id="rId2"/>
    <p:sldMasterId id="2147483768" r:id="rId3"/>
    <p:sldMasterId id="2147483739" r:id="rId4"/>
    <p:sldMasterId id="2147483793" r:id="rId5"/>
  </p:sldMasterIdLst>
  <p:notesMasterIdLst>
    <p:notesMasterId r:id="rId21"/>
  </p:notesMasterIdLst>
  <p:handoutMasterIdLst>
    <p:handoutMasterId r:id="rId22"/>
  </p:handoutMasterIdLst>
  <p:sldIdLst>
    <p:sldId id="5002" r:id="rId6"/>
    <p:sldId id="304" r:id="rId7"/>
    <p:sldId id="310" r:id="rId8"/>
    <p:sldId id="5168" r:id="rId9"/>
    <p:sldId id="306" r:id="rId10"/>
    <p:sldId id="311" r:id="rId11"/>
    <p:sldId id="308" r:id="rId12"/>
    <p:sldId id="5169" r:id="rId13"/>
    <p:sldId id="5170" r:id="rId14"/>
    <p:sldId id="5171" r:id="rId15"/>
    <p:sldId id="316" r:id="rId16"/>
    <p:sldId id="317" r:id="rId17"/>
    <p:sldId id="318" r:id="rId18"/>
    <p:sldId id="5172" r:id="rId19"/>
    <p:sldId id="309" r:id="rId20"/>
  </p:sldIdLst>
  <p:sldSz cx="9144000" cy="5143500" type="screen16x9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D1BA56-EA40-644D-ECA7-A145A1570447}" name="Birgit Gwuzdz" initials="BG" userId="06f94e1f3be536a0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2272"/>
  </p:normalViewPr>
  <p:slideViewPr>
    <p:cSldViewPr snapToGrid="0" showGuides="1">
      <p:cViewPr varScale="1">
        <p:scale>
          <a:sx n="131" d="100"/>
          <a:sy n="131" d="100"/>
        </p:scale>
        <p:origin x="120" y="354"/>
      </p:cViewPr>
      <p:guideLst>
        <p:guide pos="5760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2851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10/08/2022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Nr.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10/08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144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08638-2440-C545-94FC-9F7E4A4B476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993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de-DE" noProof="0"/>
              <a:t>Tabelle durch Klicken auf Symbol hinzufügen</a:t>
            </a:r>
            <a:endParaRPr lang="en-GB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GB" noProof="0" dirty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GB" dirty="0"/>
              <a:t>Drag </a:t>
            </a:r>
            <a:r>
              <a:rPr lang="en-GB" noProof="0" dirty="0"/>
              <a:t>picture</a:t>
            </a:r>
            <a:r>
              <a:rPr lang="en-GB" dirty="0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Department</a:t>
            </a:r>
            <a:br>
              <a:rPr lang="en-GB" dirty="0"/>
            </a:br>
            <a:r>
              <a:rPr lang="en-GB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528903"/>
            <a:ext cx="8238319" cy="313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9" y="1125082"/>
            <a:ext cx="8238319" cy="3673610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357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Halves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125082"/>
            <a:ext cx="4012006" cy="3673610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8" y="1125082"/>
            <a:ext cx="4028595" cy="3673610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200" y="528903"/>
            <a:ext cx="8269613" cy="313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935192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E4C5E1-CD3D-48F6-A233-AED37C14F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9516A12-917B-4162-AA3C-C63B31F622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2F5DD8D-46EB-4B8C-815B-D1FA29679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426B63-B4F7-464C-AB46-5B7A907E3B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1BB191-DA09-4AA2-8139-AAC225DCA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32254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1FDB99-8F13-497D-A3CE-37BDAB9E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CDEC312-081E-4599-935B-2E78EEA0FE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9831FBC-5DE6-4D1A-A717-F508BA03D2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FC9051-8B0E-4CFF-AAAE-45D3A4D7B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A0BC1C-3881-465A-A0BB-6F536A458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87276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8E0680-66FC-4B4F-BCBE-011CC58B2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819E6CA-129A-4354-AA72-C103BD0E7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0DF8D4A-6050-44DE-A950-B55D6841F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31A64E-75F4-4815-BB4B-19A217C24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E567AC-D78D-4D73-823D-70C4BA220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54449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1AB50C-103D-4B2F-B601-39ED11954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61F30CE-3AFA-4E6C-911A-7544D45FA1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A7346B7-CF41-4AD2-8D81-C2E8CAD453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3DAE44A-813B-4A67-A443-A52274271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36262-5CD4-4594-8A3E-5B946C070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F7740C-81BF-4F1F-9ADC-B51065311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03787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3E8FA1-FA84-45B3-B66C-41B74537F6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A8E8AD-55EB-47F1-9FCA-61D7A96514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90A45A3-C3FE-4D62-A838-75555AB5A1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362BC0-1001-41B2-8C83-FFADF6AE8C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C5474A1-A6B0-443D-B53A-913221A4723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5B3C42F-9DF7-42FB-8467-E7CFAD08F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4167647-D35C-4A7B-BD6D-1D8F9334C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B36F9CA-DAF4-4D0F-AF35-C571B1A97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2062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C8EDD6-EA98-4C64-8A4D-E3BF7EC3C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22D6FB0-A488-4CA4-A07F-9E18DFEAD4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C284EB-D9EE-47F4-9CBA-AE79F6FBA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C3F0A5-74EB-463A-894D-20EC9FE53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8135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FE29A6-C320-4A8B-803D-2CD1996E4A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6E2A57-E73C-450B-8E33-B78182498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3BBC70-649D-412F-929C-8239C8AE3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2770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9CDDBF-B4E7-4B1F-BE48-0551D465B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1B22BA-B5B8-4D20-B5B9-81527F9DBA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E9CBAB9-A0DF-4861-9BEE-1791217B5C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DF077C2-A17F-419D-9F48-51B8817954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D1301E-9A01-4CA2-B31F-A67416D24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20F9BD4-D61A-446A-ACF1-6120D797F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0971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E4D3A-53DC-4733-B6B7-ABB8F45D1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103E62C-C270-4009-A1AB-0A5667E57E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C458FD-C762-422D-BF6E-B67FA75E65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69AAD3-0B02-4AB9-BDB0-3E36DE196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BEF0E60-977E-48F6-8E10-F4555AF8C1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8FC7BB8-FA91-40E0-8282-344BE3C1D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9506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A6797-AE73-4461-8C5F-FE5A971C9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0CB3D91-FA8C-4011-8CF5-482CE1A6A2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E478094-6728-4F37-9826-87468A89E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583B32-6357-4986-AE52-C586ED3E7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39DAA3-DC4B-46DC-AC9F-A3AB44FFA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2427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9C302498-6BB4-4CFF-96AA-FCC603E67E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5D037EA-0DB0-4B51-9813-07D15359AA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2006AA-8722-4157-AF9F-E5078BF5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A3C8A3E-40C9-42E8-A603-933370A4B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DBEE19-041E-413A-9FCC-06217577B9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2817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Click to edit title</a:t>
            </a:r>
            <a:br>
              <a:rPr lang="en-GB" dirty="0"/>
            </a:br>
            <a:r>
              <a:rPr lang="en-GB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GB" dirty="0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</a:t>
            </a:r>
            <a:r>
              <a:rPr lang="en-GB" noProof="0" dirty="0"/>
              <a:t>picture</a:t>
            </a:r>
            <a:r>
              <a:rPr lang="en-GB" dirty="0"/>
              <a:t>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Department</a:t>
            </a:r>
            <a:br>
              <a:rPr lang="en-GB" dirty="0"/>
            </a:br>
            <a:r>
              <a:rPr lang="en-GB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Click to edit title</a:t>
            </a:r>
            <a:br>
              <a:rPr lang="en-GB" dirty="0"/>
            </a:br>
            <a:r>
              <a:rPr lang="en-GB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82190" y="4961769"/>
            <a:ext cx="7875133" cy="144000"/>
          </a:xfrm>
        </p:spPr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6263" y="4853854"/>
            <a:ext cx="7534777" cy="2519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  <p:sldLayoutId id="2147483817" r:id="rId28"/>
    <p:sldLayoutId id="214748381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C8CBC84-8539-4CAC-8192-97BB872D7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37C02B-21A6-42A6-B07D-0B61D10A6E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B59851-BA6F-4B30-A004-D7AD4AE897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6D8A5-7C13-4EF5-AC62-5A94F259B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AA76CF-CEE4-4BCD-BFBA-691D035B5E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ECD78-869D-4E73-B8C1-BEF5AAD870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502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Erstellt durch Annett Klepsch © Elsevier GmbH, München 2022                                               ClinicalKey Student für die Pflege - www.clinicalkey.vom/student/nursing</a:t>
            </a:r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ptodate.com/contents/diaper-rash-in-infants-and-children-beyond-the-basic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hyperlink" Target="https://doi.org/10.1007/s00112-019-0648-x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FD8347-4804-47F1-98FB-1E11456E58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Juli 2022</a:t>
            </a:r>
          </a:p>
          <a:p>
            <a:r>
              <a:rPr lang="nl-NL" dirty="0"/>
              <a:t>Erstellt von Birgit Gwuzdz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46164F-14D7-4C97-AFFF-0E08E03824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624" y="1939047"/>
            <a:ext cx="6679943" cy="1681409"/>
          </a:xfrm>
        </p:spPr>
        <p:txBody>
          <a:bodyPr>
            <a:normAutofit/>
          </a:bodyPr>
          <a:lstStyle/>
          <a:p>
            <a:r>
              <a:rPr lang="en-US" sz="2800" dirty="0" err="1"/>
              <a:t>Prophylaxe</a:t>
            </a:r>
            <a:r>
              <a:rPr lang="en-US" sz="2800" dirty="0"/>
              <a:t> „</a:t>
            </a:r>
            <a:r>
              <a:rPr lang="en-US" sz="2800" dirty="0" err="1"/>
              <a:t>Windeldermatitis</a:t>
            </a:r>
            <a:r>
              <a:rPr lang="en-US" sz="2800" dirty="0"/>
              <a:t>” – </a:t>
            </a:r>
            <a:r>
              <a:rPr lang="en-US" sz="2800" dirty="0" err="1"/>
              <a:t>Inkontinenzassoziierte</a:t>
            </a:r>
            <a:r>
              <a:rPr lang="en-US" sz="2800" dirty="0"/>
              <a:t> </a:t>
            </a:r>
            <a:br>
              <a:rPr lang="en-US" sz="2800" dirty="0"/>
            </a:br>
            <a:r>
              <a:rPr lang="en-US" sz="2800" dirty="0"/>
              <a:t>Dermatitis </a:t>
            </a:r>
            <a:r>
              <a:rPr lang="en-US" sz="2800" dirty="0" err="1"/>
              <a:t>bei</a:t>
            </a:r>
            <a:r>
              <a:rPr lang="en-US" sz="2800" dirty="0"/>
              <a:t> </a:t>
            </a:r>
            <a:r>
              <a:rPr lang="en-US" sz="2800" dirty="0" err="1"/>
              <a:t>Kindern</a:t>
            </a:r>
            <a:endParaRPr 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43E2E1-D8D0-428F-9CE1-98FD10199A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0D61305-755C-C8D7-D971-EC36F425E6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390" y="206579"/>
            <a:ext cx="1167287" cy="150842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7768C0A-5047-8032-3F46-55340F8859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667" y="208401"/>
            <a:ext cx="1070055" cy="152529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2C404CD-D9AE-11AE-1C77-9759A380E09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5712" y="206579"/>
            <a:ext cx="907537" cy="154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58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5770" y="136386"/>
            <a:ext cx="7146565" cy="638652"/>
          </a:xfrm>
        </p:spPr>
        <p:txBody>
          <a:bodyPr>
            <a:normAutofit fontScale="90000"/>
          </a:bodyPr>
          <a:lstStyle/>
          <a:p>
            <a:pPr>
              <a:tabLst>
                <a:tab pos="807244" algn="l"/>
              </a:tabLst>
            </a:pPr>
            <a:br>
              <a:rPr lang="de-DE" dirty="0"/>
            </a:br>
            <a:r>
              <a:rPr lang="de-DE" dirty="0"/>
              <a:t>6. Therapeutische und prophylaktische Maßnahmen</a:t>
            </a:r>
            <a:br>
              <a:rPr lang="de-DE" dirty="0"/>
            </a:br>
            <a:r>
              <a:rPr lang="de-DE" sz="1350" dirty="0"/>
              <a:t>6.2 B = </a:t>
            </a:r>
            <a:r>
              <a:rPr lang="de-DE" sz="1350" dirty="0" err="1"/>
              <a:t>Barriers</a:t>
            </a:r>
            <a:r>
              <a:rPr lang="de-DE" sz="1350" dirty="0"/>
              <a:t> (Barriere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1135768"/>
            <a:ext cx="7371204" cy="3270403"/>
          </a:xfrm>
        </p:spPr>
        <p:txBody>
          <a:bodyPr>
            <a:normAutofit/>
          </a:bodyPr>
          <a:lstStyle/>
          <a:p>
            <a:r>
              <a:rPr lang="de-DE" dirty="0"/>
              <a:t>Barriere bezieht sich hier auf die natürliche Hautbarriere.</a:t>
            </a:r>
          </a:p>
          <a:p>
            <a:pPr>
              <a:spcBef>
                <a:spcPts val="900"/>
              </a:spcBef>
            </a:pPr>
            <a:r>
              <a:rPr lang="de-DE" dirty="0"/>
              <a:t>Diese sollte prophylaktisch erhalten bleiben bzw. durch die richtigen Pasten/Cremes wieder aufgebaut werden.</a:t>
            </a:r>
          </a:p>
          <a:p>
            <a:pPr>
              <a:spcBef>
                <a:spcPts val="900"/>
              </a:spcBef>
            </a:pPr>
            <a:r>
              <a:rPr lang="de-DE" dirty="0"/>
              <a:t>Diese sollen die Haut</a:t>
            </a:r>
          </a:p>
          <a:p>
            <a:pPr marL="600075" lvl="1" indent="-257175">
              <a:buFont typeface="+mj-lt"/>
              <a:buAutoNum type="arabicPeriod"/>
            </a:pPr>
            <a:r>
              <a:rPr lang="de-DE" sz="1500" dirty="0"/>
              <a:t>schützen mit Inhaltsstoffen, </a:t>
            </a:r>
            <a:br>
              <a:rPr lang="de-DE" sz="1500" dirty="0"/>
            </a:br>
            <a:r>
              <a:rPr lang="de-DE" sz="1500" dirty="0"/>
              <a:t>z.B. weiße Vaseline, Wollwachs, Zinkoxid, ätherische Öle, beispielsweise Kamille </a:t>
            </a:r>
          </a:p>
          <a:p>
            <a:pPr marL="600075" lvl="1" indent="-257175">
              <a:spcBef>
                <a:spcPts val="450"/>
              </a:spcBef>
              <a:buFont typeface="+mj-lt"/>
              <a:buAutoNum type="arabicPeriod"/>
            </a:pPr>
            <a:r>
              <a:rPr lang="de-DE" sz="1500" dirty="0"/>
              <a:t>regenerieren mit Inhaltsstoffen, </a:t>
            </a:r>
            <a:br>
              <a:rPr lang="de-DE" sz="1500" dirty="0"/>
            </a:br>
            <a:r>
              <a:rPr lang="de-DE" sz="1500" dirty="0"/>
              <a:t>z.B. Zinkoxid, Bienenwachs, Olivenöl, </a:t>
            </a:r>
            <a:r>
              <a:rPr lang="de-DE" sz="1500" dirty="0" err="1"/>
              <a:t>Salicylsäure</a:t>
            </a:r>
            <a:r>
              <a:rPr lang="de-DE" sz="1500" dirty="0"/>
              <a:t>, ätherische Öle, beispielsweise Kamille</a:t>
            </a:r>
          </a:p>
          <a:p>
            <a:endParaRPr lang="de-DE" dirty="0"/>
          </a:p>
        </p:txBody>
      </p:sp>
      <p:pic>
        <p:nvPicPr>
          <p:cNvPr id="5" name="Picture 2" descr="K:\Projects\06_Pflege\Marketing\Projekt Pflege\09814_Dozentenportal\2017_Juni\Präsentationen\01_von Autoren\bearbeitet PT\Mauer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02784" y="569659"/>
            <a:ext cx="954634" cy="63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8E4B5067-D52E-51DA-0A4B-978DA85ABB0B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 noGrp="1"/>
          </p:cNvSpPr>
          <p:nvPr>
            <p:ph type="title"/>
          </p:nvPr>
        </p:nvSpPr>
        <p:spPr>
          <a:xfrm>
            <a:off x="1225297" y="528904"/>
            <a:ext cx="6439343" cy="489017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Autofit/>
          </a:bodyPr>
          <a:lstStyle/>
          <a:p>
            <a:pPr>
              <a:tabLst>
                <a:tab pos="807244" algn="l"/>
              </a:tabLst>
              <a:defRPr/>
            </a:pPr>
            <a:r>
              <a:rPr lang="de-DE" dirty="0"/>
              <a:t>6. Therapeutische und prophylaktische Maßnahmen</a:t>
            </a:r>
            <a:br>
              <a:rPr lang="de-DE" sz="1800" dirty="0">
                <a:solidFill>
                  <a:schemeClr val="accent1"/>
                </a:solidFill>
                <a:latin typeface="Arial Bold"/>
                <a:cs typeface="Arial Bold"/>
              </a:rPr>
            </a:br>
            <a:r>
              <a:rPr lang="de-DE" sz="1350" dirty="0">
                <a:solidFill>
                  <a:schemeClr val="accent1"/>
                </a:solidFill>
              </a:rPr>
              <a:t>6.3</a:t>
            </a:r>
            <a:r>
              <a:rPr lang="de-DE" sz="1350" dirty="0"/>
              <a:t> </a:t>
            </a:r>
            <a:r>
              <a:rPr lang="de-DE" sz="1350" dirty="0">
                <a:solidFill>
                  <a:schemeClr val="accent1"/>
                </a:solidFill>
              </a:rPr>
              <a:t>C = </a:t>
            </a:r>
            <a:r>
              <a:rPr lang="de-DE" sz="1350" dirty="0" err="1">
                <a:solidFill>
                  <a:schemeClr val="accent1"/>
                </a:solidFill>
              </a:rPr>
              <a:t>Cleansings</a:t>
            </a:r>
            <a:r>
              <a:rPr lang="de-DE" sz="1350" dirty="0">
                <a:solidFill>
                  <a:schemeClr val="accent1"/>
                </a:solidFill>
              </a:rPr>
              <a:t> (Reinigung)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91452" y="528903"/>
            <a:ext cx="930830" cy="1138532"/>
          </a:xfrm>
          <a:prstGeom prst="rect">
            <a:avLst/>
          </a:prstGeom>
          <a:noFill/>
        </p:spPr>
      </p:pic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89E8E139-0AB5-138D-DB9F-BD8422C7C0E4}"/>
              </a:ext>
            </a:extLst>
          </p:cNvPr>
          <p:cNvSpPr txBox="1">
            <a:spLocks/>
          </p:cNvSpPr>
          <p:nvPr/>
        </p:nvSpPr>
        <p:spPr>
          <a:xfrm>
            <a:off x="457199" y="4829515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ADFDF83-2460-1D5C-4C6F-7DFAFA54C94E}"/>
              </a:ext>
            </a:extLst>
          </p:cNvPr>
          <p:cNvSpPr txBox="1"/>
          <p:nvPr/>
        </p:nvSpPr>
        <p:spPr>
          <a:xfrm>
            <a:off x="976184" y="1421027"/>
            <a:ext cx="7710616" cy="4272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75" marR="0" lvl="0" indent="-192024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urch die Reinigung wird der Kontakt mit dem aggressiven Urin und Stuhl entfernt.</a:t>
            </a:r>
          </a:p>
          <a:p>
            <a:pPr marL="257175" marR="0" lvl="0" indent="-192024" algn="l" defTabSz="3429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rsichtige Reinigung! Eher tupfen statt reiben! </a:t>
            </a:r>
          </a:p>
          <a:p>
            <a:pPr marL="257175" marR="0" lvl="0" indent="-192024" algn="l" defTabSz="3429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rmes, klare Wasser, evtl. etwas Öl, z.B. Mandelöl, oder Syndets (synthetisch hergestellte Waschsubstanzen) verwenden</a:t>
            </a:r>
          </a:p>
          <a:p>
            <a:pPr marL="257175" indent="-192024" defTabSz="342900">
              <a:spcBef>
                <a:spcPts val="1350"/>
              </a:spcBef>
              <a:buFont typeface="Arial"/>
              <a:buChar char="•"/>
              <a:defRPr/>
            </a:pPr>
            <a:r>
              <a:rPr lang="de-DE" sz="1400" dirty="0">
                <a:solidFill>
                  <a:srgbClr val="53565A"/>
                </a:solidFill>
                <a:latin typeface="Arial"/>
                <a:cs typeface="Arial"/>
              </a:rPr>
              <a:t>bei der Therapie: Wickelfrequenz minimieren auf 2–3 Stunden</a:t>
            </a:r>
          </a:p>
          <a:p>
            <a:pPr marL="257175" marR="0" lvl="0" indent="-192024" algn="l" defTabSz="3429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de-DE" sz="1400" dirty="0">
              <a:solidFill>
                <a:srgbClr val="53565A"/>
              </a:solidFill>
              <a:latin typeface="Arial"/>
              <a:cs typeface="Arial"/>
            </a:endParaRPr>
          </a:p>
          <a:p>
            <a:pPr marL="342900" marR="0" lvl="0" indent="-256032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1885950" algn="l"/>
                <a:tab pos="2695575" algn="l"/>
                <a:tab pos="3143250" algn="l"/>
              </a:tabLst>
              <a:defRPr/>
            </a:pPr>
            <a:r>
              <a:rPr lang="de-DE" sz="1400" dirty="0">
                <a:solidFill>
                  <a:srgbClr val="53565A"/>
                </a:solidFill>
                <a:latin typeface="Arial"/>
                <a:cs typeface="Arial"/>
                <a:sym typeface="Wingdings" pitchFamily="2" charset="2"/>
              </a:rPr>
              <a:t>			</a:t>
            </a:r>
            <a:r>
              <a:rPr lang="de-DE" sz="1400" b="1" dirty="0">
                <a:solidFill>
                  <a:srgbClr val="53565A"/>
                </a:solidFill>
                <a:latin typeface="Arial"/>
                <a:cs typeface="Arial"/>
                <a:sym typeface="Wingdings" pitchFamily="2" charset="2"/>
              </a:rPr>
              <a:t>handelsübliche</a:t>
            </a:r>
            <a:r>
              <a:rPr lang="de-DE" sz="1400" dirty="0">
                <a:solidFill>
                  <a:srgbClr val="53565A"/>
                </a:solidFill>
                <a:latin typeface="Arial"/>
                <a:cs typeface="Arial"/>
                <a:sym typeface="Wingdings" pitchFamily="2" charset="2"/>
              </a:rPr>
              <a:t> Feuchttücher sind bei einer akuten 				Windeldermatitis </a:t>
            </a:r>
            <a:r>
              <a:rPr lang="de-DE" sz="1400" dirty="0">
                <a:solidFill>
                  <a:srgbClr val="FF0000"/>
                </a:solidFill>
                <a:latin typeface="Arial"/>
                <a:cs typeface="Arial"/>
                <a:sym typeface="Wingdings" pitchFamily="2" charset="2"/>
              </a:rPr>
              <a:t>streng</a:t>
            </a:r>
            <a:r>
              <a:rPr lang="de-DE" sz="1400" dirty="0">
                <a:solidFill>
                  <a:srgbClr val="53565A"/>
                </a:solidFill>
                <a:latin typeface="Arial"/>
                <a:cs typeface="Arial"/>
                <a:sym typeface="Wingdings" pitchFamily="2" charset="2"/>
              </a:rPr>
              <a:t> verboten! Inhaltsstoffe, z.B. 				Parfüm, können die Windeldermatitis verstärken!</a:t>
            </a:r>
            <a:endParaRPr lang="de-DE" sz="1400" dirty="0">
              <a:solidFill>
                <a:srgbClr val="53565A"/>
              </a:solidFill>
              <a:latin typeface="Arial"/>
              <a:cs typeface="Arial"/>
            </a:endParaRPr>
          </a:p>
          <a:p>
            <a:pPr marL="257175" marR="0" lvl="0" indent="-192024" algn="l" defTabSz="3429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57175" marR="0" lvl="0" indent="-192024" algn="l" defTabSz="3429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de-DE" dirty="0">
              <a:solidFill>
                <a:srgbClr val="53565A"/>
              </a:solidFill>
              <a:latin typeface="Arial"/>
              <a:cs typeface="Arial"/>
            </a:endParaRPr>
          </a:p>
          <a:p>
            <a:pPr marL="257175" marR="0" lvl="0" indent="-192024" algn="l" defTabSz="3429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98B7C0A-3201-662C-502F-2DF1F0D0E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118" y="3292174"/>
            <a:ext cx="1091279" cy="1091279"/>
          </a:xfrm>
          <a:prstGeom prst="rect">
            <a:avLst/>
          </a:prstGeom>
        </p:spPr>
      </p:pic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2C2CB333-4CE0-4159-AB4F-2884602E970D}"/>
              </a:ext>
            </a:extLst>
          </p:cNvPr>
          <p:cNvSpPr/>
          <p:nvPr/>
        </p:nvSpPr>
        <p:spPr>
          <a:xfrm>
            <a:off x="3163330" y="3639887"/>
            <a:ext cx="432487" cy="17299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43D33A3-8D31-272C-A1BA-2D2BFE8BC6D9}"/>
              </a:ext>
            </a:extLst>
          </p:cNvPr>
          <p:cNvSpPr txBox="1"/>
          <p:nvPr/>
        </p:nvSpPr>
        <p:spPr>
          <a:xfrm>
            <a:off x="1608074" y="3114538"/>
            <a:ext cx="923365" cy="1446550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000000"/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8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85900" y="427940"/>
            <a:ext cx="6178739" cy="561411"/>
          </a:xfrm>
        </p:spPr>
        <p:txBody>
          <a:bodyPr/>
          <a:lstStyle/>
          <a:p>
            <a:pPr>
              <a:tabLst>
                <a:tab pos="807244" algn="l"/>
              </a:tabLst>
            </a:pPr>
            <a:r>
              <a:rPr lang="de-DE" dirty="0"/>
              <a:t>6. Therapeutische und prophylaktische Maßnahmen</a:t>
            </a:r>
            <a:br>
              <a:rPr lang="de-DE" dirty="0"/>
            </a:br>
            <a:r>
              <a:rPr lang="de-DE" sz="1350" dirty="0"/>
              <a:t>6.4 D = </a:t>
            </a:r>
            <a:r>
              <a:rPr lang="de-DE" sz="1350" dirty="0" err="1"/>
              <a:t>Diapers</a:t>
            </a:r>
            <a:r>
              <a:rPr lang="de-DE" sz="1350" dirty="0"/>
              <a:t> (Windeln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5352" y="1353097"/>
            <a:ext cx="8501449" cy="3518046"/>
          </a:xfrm>
        </p:spPr>
        <p:txBody>
          <a:bodyPr>
            <a:normAutofit fontScale="77500" lnSpcReduction="20000"/>
          </a:bodyPr>
          <a:lstStyle/>
          <a:p>
            <a:r>
              <a:rPr lang="de-DE" dirty="0"/>
              <a:t>korrekte Auswahl der Windel/Inkontinenzversorgung</a:t>
            </a:r>
          </a:p>
          <a:p>
            <a:pPr>
              <a:spcBef>
                <a:spcPts val="900"/>
              </a:spcBef>
            </a:pPr>
            <a:r>
              <a:rPr lang="de-DE" dirty="0"/>
              <a:t>persönliche und hygienische Aspekte spielen hier eine Rolle:</a:t>
            </a:r>
          </a:p>
          <a:p>
            <a:pPr marL="600075" lvl="1" indent="-257175">
              <a:buFont typeface="+mj-lt"/>
              <a:buAutoNum type="arabicPeriod"/>
            </a:pPr>
            <a:r>
              <a:rPr lang="de-DE" sz="1800" dirty="0"/>
              <a:t>Stoffwindeln</a:t>
            </a:r>
          </a:p>
          <a:p>
            <a:pPr marL="900113" lvl="2" indent="-257175"/>
            <a:r>
              <a:rPr lang="de-DE" sz="1500" dirty="0"/>
              <a:t>umweltbewusster durch die Reduzierung von Müll</a:t>
            </a:r>
          </a:p>
          <a:p>
            <a:pPr marL="900113" lvl="2" indent="-257175"/>
            <a:r>
              <a:rPr lang="de-DE" sz="1500" dirty="0"/>
              <a:t>bessere Luftzirkulation an der Haut</a:t>
            </a:r>
          </a:p>
          <a:p>
            <a:pPr marL="900113" lvl="2" indent="-257175"/>
            <a:r>
              <a:rPr lang="de-DE" sz="1500" dirty="0"/>
              <a:t>Stoffwindeln „wachsen“ mit.</a:t>
            </a:r>
          </a:p>
          <a:p>
            <a:pPr marL="900113" lvl="2" indent="-257175"/>
            <a:r>
              <a:rPr lang="de-DE" sz="1500" dirty="0"/>
              <a:t>Empirische Berichte geben an, dass die Kinder schneller „sauber“ werden.</a:t>
            </a:r>
          </a:p>
          <a:p>
            <a:pPr marL="600075" lvl="1" indent="-257175">
              <a:spcBef>
                <a:spcPts val="900"/>
              </a:spcBef>
              <a:buFont typeface="+mj-lt"/>
              <a:buAutoNum type="arabicPeriod"/>
            </a:pPr>
            <a:r>
              <a:rPr lang="de-DE" sz="1800" dirty="0"/>
              <a:t>Einmalwindeln</a:t>
            </a:r>
          </a:p>
          <a:p>
            <a:pPr marL="900113" lvl="2" indent="-257175"/>
            <a:r>
              <a:rPr lang="de-DE" sz="1500" dirty="0"/>
              <a:t>die meisten Einmalwindeln bilden bei Kontakt mit Feuchtigkeit im Inneren einen </a:t>
            </a:r>
            <a:r>
              <a:rPr lang="de-DE" sz="1500" dirty="0" err="1"/>
              <a:t>Gelkern</a:t>
            </a:r>
            <a:r>
              <a:rPr lang="de-DE" sz="1500" dirty="0"/>
              <a:t>, der die Flüssigkeit von der Haut abhält.</a:t>
            </a:r>
          </a:p>
          <a:p>
            <a:pPr marL="900113" lvl="2" indent="-257175"/>
            <a:r>
              <a:rPr lang="de-DE" sz="1500" dirty="0"/>
              <a:t>diese Trockenheit erreichen Stoffwindeln nicht.</a:t>
            </a:r>
          </a:p>
          <a:p>
            <a:pPr marL="900113" lvl="2" indent="-257175"/>
            <a:r>
              <a:rPr lang="de-DE" sz="1500" dirty="0"/>
              <a:t>Duftstoffe und zu enge Windeln können die Haut zusätzlich reizen, evtl. auch allergische Reaktionen auslösen.</a:t>
            </a:r>
            <a:r>
              <a:rPr lang="de-DE" sz="1350" dirty="0"/>
              <a:t>		</a:t>
            </a:r>
          </a:p>
        </p:txBody>
      </p:sp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01131" y="323699"/>
            <a:ext cx="616844" cy="925157"/>
          </a:xfrm>
          <a:prstGeom prst="rect">
            <a:avLst/>
          </a:prstGeom>
          <a:noFill/>
        </p:spPr>
      </p:pic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37D3A6AB-5A79-64C8-5F82-3FE938409A8A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199" y="344809"/>
            <a:ext cx="7624120" cy="709676"/>
          </a:xfrm>
        </p:spPr>
        <p:txBody>
          <a:bodyPr/>
          <a:lstStyle/>
          <a:p>
            <a:pPr>
              <a:tabLst>
                <a:tab pos="807244" algn="l"/>
              </a:tabLst>
            </a:pPr>
            <a:r>
              <a:rPr lang="de-DE" dirty="0"/>
              <a:t>6. Therapeutische und prophylaktische Maßnahmen</a:t>
            </a:r>
            <a:br>
              <a:rPr lang="de-DE" dirty="0"/>
            </a:br>
            <a:r>
              <a:rPr lang="de-DE" sz="1350" dirty="0"/>
              <a:t>6.5 E = Education (Bildung/Aufklärung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1415844"/>
            <a:ext cx="8519653" cy="3271895"/>
          </a:xfrm>
        </p:spPr>
        <p:txBody>
          <a:bodyPr/>
          <a:lstStyle/>
          <a:p>
            <a:r>
              <a:rPr lang="de-DE" dirty="0"/>
              <a:t>Windeldermatitiden haben eine hohe </a:t>
            </a:r>
            <a:r>
              <a:rPr lang="de-DE" dirty="0" err="1"/>
              <a:t>Rezidivrate</a:t>
            </a:r>
            <a:r>
              <a:rPr lang="de-DE" dirty="0"/>
              <a:t>! Um dies einzudämmen, ist die Aufklärung und Information der Eltern wichtig!</a:t>
            </a:r>
          </a:p>
          <a:p>
            <a:pPr>
              <a:spcBef>
                <a:spcPts val="1350"/>
              </a:spcBef>
            </a:pPr>
            <a:r>
              <a:rPr lang="de-DE" dirty="0"/>
              <a:t>am besten sind hierzu Experten, Ärzte, Pflegepersonen, Hebammen geeignet, vorsichtig mit „Hausmitteln“ umgehen!</a:t>
            </a:r>
          </a:p>
          <a:p>
            <a:pPr>
              <a:spcBef>
                <a:spcPts val="1350"/>
              </a:spcBef>
            </a:pPr>
            <a:r>
              <a:rPr lang="de-DE" dirty="0"/>
              <a:t>Empfehlungen werden von den Eltern besser beachtet, wenn sie über die Entstehung, prophylaktische Maßnahmen und Behandlungen der Windeldermatitis umfassend informiert sind.</a:t>
            </a:r>
          </a:p>
          <a:p>
            <a:pPr>
              <a:buNone/>
            </a:pPr>
            <a:r>
              <a:rPr lang="de-DE" dirty="0"/>
              <a:t> </a:t>
            </a:r>
          </a:p>
          <a:p>
            <a:pPr>
              <a:buNone/>
            </a:pPr>
            <a:endParaRPr lang="de-DE" sz="525" dirty="0"/>
          </a:p>
          <a:p>
            <a:pPr algn="r">
              <a:buNone/>
            </a:pPr>
            <a:r>
              <a:rPr lang="de-DE" sz="525" dirty="0"/>
              <a:t>Alle nicht gesondert gekennzeichneten Abbildungen: </a:t>
            </a:r>
            <a:r>
              <a:rPr lang="en-US" sz="525" dirty="0"/>
              <a:t>Colourbox.com </a:t>
            </a:r>
            <a:r>
              <a:rPr lang="de-DE" sz="525" baseline="30000" dirty="0"/>
              <a:t>® </a:t>
            </a:r>
            <a:r>
              <a:rPr lang="de-DE" sz="525" dirty="0" err="1"/>
              <a:t>Elsevier</a:t>
            </a:r>
            <a:r>
              <a:rPr lang="de-DE" sz="525" dirty="0"/>
              <a:t> GmbH, München</a:t>
            </a:r>
          </a:p>
          <a:p>
            <a:pPr>
              <a:buNone/>
            </a:pPr>
            <a:endParaRPr lang="de-DE" dirty="0"/>
          </a:p>
        </p:txBody>
      </p:sp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79906" y="427677"/>
            <a:ext cx="847165" cy="705971"/>
          </a:xfrm>
          <a:prstGeom prst="rect">
            <a:avLst/>
          </a:prstGeom>
          <a:noFill/>
        </p:spPr>
      </p:pic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C6A46791-604E-C282-9A3A-A2C2D249F98F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199" y="344809"/>
            <a:ext cx="7624120" cy="399470"/>
          </a:xfrm>
        </p:spPr>
        <p:txBody>
          <a:bodyPr/>
          <a:lstStyle/>
          <a:p>
            <a:pPr>
              <a:tabLst>
                <a:tab pos="807244" algn="l"/>
              </a:tabLst>
            </a:pPr>
            <a:r>
              <a:rPr lang="de-DE" dirty="0"/>
              <a:t>7. Wiederholungsfragen</a:t>
            </a:r>
            <a:br>
              <a:rPr lang="de-DE" dirty="0"/>
            </a:br>
            <a:endParaRPr lang="de-DE" sz="135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808075"/>
            <a:ext cx="8519653" cy="3848986"/>
          </a:xfrm>
        </p:spPr>
        <p:txBody>
          <a:bodyPr>
            <a:normAutofit fontScale="92500" lnSpcReduction="20000"/>
          </a:bodyPr>
          <a:lstStyle/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Wie heißt eine „Windeldermatitis“ in der Fachsprache? 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Definieren Sie die inkontinenzassoziierte Dermatitis? 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Was charakterisiert den Typ I? 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Was bedeutet der Typ II? 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Die </a:t>
            </a:r>
            <a:r>
              <a:rPr lang="de-DE" sz="1800" dirty="0" err="1"/>
              <a:t>Babyhaut</a:t>
            </a:r>
            <a:r>
              <a:rPr lang="de-DE" sz="1800" dirty="0"/>
              <a:t> unterscheidet sich mindestens in sechs Eigenschaften von der Erwachsenenhaut. Benennen Sie diese.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Geben Sie die Symptome einer inkontinenzassoziierten Dermatitis bei Kinder an. 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Beschreiben Sie, was sich hinter den Buchstaben des Akronyms ABCDE verbirgt. 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In welcher Frequenz sollte eine „Windel“ gewechselt werden?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Worauf ist bei der Auswahl einer Creme zu achten?</a:t>
            </a:r>
          </a:p>
          <a:p>
            <a:pPr marL="429768" lvl="0" indent="-342900">
              <a:buFont typeface="+mj-lt"/>
              <a:buAutoNum type="arabicPeriod"/>
            </a:pPr>
            <a:r>
              <a:rPr lang="de-DE" sz="1800" dirty="0"/>
              <a:t>Welche Empfehlung können Sie einer Mutter bezüglich der Verwendung von Feuchttüchern geben? </a:t>
            </a:r>
          </a:p>
          <a:p>
            <a:pPr>
              <a:buNone/>
            </a:pPr>
            <a:r>
              <a:rPr lang="de-DE" dirty="0"/>
              <a:t> </a:t>
            </a:r>
          </a:p>
          <a:p>
            <a:pPr>
              <a:buNone/>
            </a:pPr>
            <a:endParaRPr lang="de-DE" sz="525" dirty="0"/>
          </a:p>
          <a:p>
            <a:pPr>
              <a:buNone/>
            </a:pPr>
            <a:endParaRPr lang="de-DE" dirty="0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C6A46791-604E-C282-9A3A-A2C2D249F98F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  <p:extLst>
      <p:ext uri="{BB962C8B-B14F-4D97-AF65-F5344CB8AC3E}">
        <p14:creationId xmlns:p14="http://schemas.microsoft.com/office/powerpoint/2010/main" val="42278919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7. Literaturverzeichni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27587" y="1022555"/>
            <a:ext cx="6937051" cy="288085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de-DE" sz="1050" strike="sngStrike" dirty="0">
              <a:highlight>
                <a:srgbClr val="FFFF00"/>
              </a:highlight>
            </a:endParaRPr>
          </a:p>
          <a:p>
            <a:r>
              <a:rPr lang="de-DE" sz="1050" dirty="0" err="1"/>
              <a:t>Fley</a:t>
            </a:r>
            <a:r>
              <a:rPr lang="de-DE" sz="1050" dirty="0"/>
              <a:t>, G. &amp; Schneider, F. (2019). Pflege bei Hauterkrankungen IN: G. Fly &amp; F. Schneider (Hrsg.) Pflege heute Pädiatrische Pflege. München: Elsevier Verlag, S. 402 - 422</a:t>
            </a:r>
          </a:p>
          <a:p>
            <a:r>
              <a:rPr lang="de-DE" sz="1050" dirty="0"/>
              <a:t>Fritsch, P. &amp; Schwarz, T. (2018). Altersspezifische Krankheiten der Haut. In: p. Fritsch &amp; Th Schwarz (Hrsg.).  Dermatologie Venerologie. Berlin, Heidelberg: Springer-Verlag. S. 962-983 https://doi.org/10.1007/978-3-662-53647-6_19 </a:t>
            </a:r>
          </a:p>
          <a:p>
            <a:r>
              <a:rPr lang="de-DE" sz="1050" dirty="0"/>
              <a:t>Höger, P. (2020). Windeldermatitis und Co. IN: hautnah </a:t>
            </a:r>
            <a:r>
              <a:rPr lang="de-DE" sz="1050" dirty="0" err="1"/>
              <a:t>dermatologie</a:t>
            </a:r>
            <a:r>
              <a:rPr lang="de-DE" sz="1050" dirty="0"/>
              <a:t> 36, 54–55 (2020). https://doi.org/10.1007/s15012-020-4004-6 </a:t>
            </a:r>
          </a:p>
          <a:p>
            <a:r>
              <a:rPr lang="de-DE" sz="1050" dirty="0" err="1"/>
              <a:t>Horii</a:t>
            </a:r>
            <a:r>
              <a:rPr lang="de-DE" sz="1050" dirty="0"/>
              <a:t>, K. A. (2022). Patient </a:t>
            </a:r>
            <a:r>
              <a:rPr lang="de-DE" sz="1050" dirty="0" err="1"/>
              <a:t>education</a:t>
            </a:r>
            <a:r>
              <a:rPr lang="de-DE" sz="1050" dirty="0"/>
              <a:t>: </a:t>
            </a:r>
            <a:r>
              <a:rPr lang="de-DE" sz="1050" dirty="0" err="1"/>
              <a:t>Diaper</a:t>
            </a:r>
            <a:r>
              <a:rPr lang="de-DE" sz="1050" dirty="0"/>
              <a:t> </a:t>
            </a:r>
            <a:r>
              <a:rPr lang="de-DE" sz="1050" dirty="0" err="1"/>
              <a:t>rash</a:t>
            </a:r>
            <a:r>
              <a:rPr lang="de-DE" sz="1050" dirty="0"/>
              <a:t> in </a:t>
            </a:r>
            <a:r>
              <a:rPr lang="de-DE" sz="1050" dirty="0" err="1"/>
              <a:t>infants</a:t>
            </a:r>
            <a:r>
              <a:rPr lang="de-DE" sz="1050" dirty="0"/>
              <a:t> and Children (</a:t>
            </a:r>
            <a:r>
              <a:rPr lang="de-DE" sz="1050" dirty="0" err="1"/>
              <a:t>Beyond</a:t>
            </a:r>
            <a:r>
              <a:rPr lang="de-DE" sz="1050" dirty="0"/>
              <a:t> </a:t>
            </a:r>
            <a:r>
              <a:rPr lang="de-DE" sz="1050" dirty="0" err="1"/>
              <a:t>the</a:t>
            </a:r>
            <a:r>
              <a:rPr lang="de-DE" sz="1050" dirty="0"/>
              <a:t> Basics). Abgerufen am 20.06.2022 von </a:t>
            </a:r>
            <a:r>
              <a:rPr lang="de-DE" sz="1050" dirty="0">
                <a:hlinkClick r:id="rId3"/>
              </a:rPr>
              <a:t>https://www.uptodate.com/contents/diaper-rash-in-infants-and-children-beyond-the-basics</a:t>
            </a:r>
            <a:r>
              <a:rPr lang="de-DE" sz="1050" dirty="0"/>
              <a:t> </a:t>
            </a:r>
          </a:p>
          <a:p>
            <a:r>
              <a:rPr lang="de-DE" sz="1050" dirty="0"/>
              <a:t>Reick, S., Müller, G. &amp; Hering, T. (2021). Pflegerische Interventionen bei Kindern mit Windeldermatitis (inkontinenzassoziierter Dermatitis) – ein systematisches Review. In: </a:t>
            </a:r>
            <a:r>
              <a:rPr lang="de-DE" sz="1050" dirty="0" err="1"/>
              <a:t>Monatsschr</a:t>
            </a:r>
            <a:r>
              <a:rPr lang="de-DE" sz="1050" dirty="0"/>
              <a:t> </a:t>
            </a:r>
            <a:r>
              <a:rPr lang="de-DE" sz="1050" dirty="0" err="1"/>
              <a:t>Kinderheilkd</a:t>
            </a:r>
            <a:r>
              <a:rPr lang="de-DE" sz="1050" dirty="0"/>
              <a:t> 2021, 169:844-853 </a:t>
            </a:r>
            <a:r>
              <a:rPr lang="de-DE" sz="1050" dirty="0">
                <a:solidFill>
                  <a:srgbClr val="0000FF"/>
                </a:solidFill>
                <a:latin typeface="+mn-lt"/>
                <a:hlinkClick r:id="rId4"/>
              </a:rPr>
              <a:t>https://doi.org/10.1007/s00112-019-0648-x</a:t>
            </a:r>
            <a:endParaRPr lang="de-DE" sz="1050" dirty="0">
              <a:solidFill>
                <a:srgbClr val="0000FF"/>
              </a:solidFill>
              <a:latin typeface="+mn-lt"/>
            </a:endParaRPr>
          </a:p>
          <a:p>
            <a:endParaRPr lang="de-DE" sz="1050" dirty="0">
              <a:highlight>
                <a:srgbClr val="FFFF00"/>
              </a:highlight>
              <a:latin typeface="+mn-lt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411241D-DE31-5FF2-BCC2-76637DBB6D5C}"/>
              </a:ext>
            </a:extLst>
          </p:cNvPr>
          <p:cNvSpPr txBox="1">
            <a:spLocks/>
          </p:cNvSpPr>
          <p:nvPr/>
        </p:nvSpPr>
        <p:spPr>
          <a:xfrm>
            <a:off x="457200" y="4614597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FC08A40-43D5-B2DF-EEC3-9D14A5A6C892}"/>
              </a:ext>
            </a:extLst>
          </p:cNvPr>
          <p:cNvSpPr txBox="1"/>
          <p:nvPr/>
        </p:nvSpPr>
        <p:spPr>
          <a:xfrm>
            <a:off x="961910" y="3816844"/>
            <a:ext cx="65973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Alle Fotos in dieser Präsentation sind von Colourbox.com©</a:t>
            </a:r>
            <a:r>
              <a:rPr lang="de-DE" sz="900" baseline="30000" dirty="0"/>
              <a:t> </a:t>
            </a:r>
            <a:r>
              <a:rPr lang="de-DE" sz="900" dirty="0"/>
              <a:t>Elsevier GmbH, München; sofern kein anderer Nachweis angegeben ist </a:t>
            </a:r>
            <a:endParaRPr lang="en-US" sz="9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1125081"/>
            <a:ext cx="8238319" cy="3150357"/>
          </a:xfrm>
        </p:spPr>
        <p:txBody>
          <a:bodyPr>
            <a:normAutofit fontScale="77500" lnSpcReduction="20000"/>
          </a:bodyPr>
          <a:lstStyle/>
          <a:p>
            <a:pPr marL="335756" indent="-271463">
              <a:buFont typeface="+mj-lt"/>
              <a:buAutoNum type="arabicPeriod"/>
            </a:pPr>
            <a:r>
              <a:rPr lang="de-DE" dirty="0"/>
              <a:t>Begriffserklärungen</a:t>
            </a:r>
          </a:p>
          <a:p>
            <a:pPr marL="322326" indent="-257175">
              <a:buFont typeface="+mj-lt"/>
              <a:buAutoNum type="arabicPeriod"/>
            </a:pPr>
            <a:r>
              <a:rPr lang="de-DE" dirty="0"/>
              <a:t>Definition</a:t>
            </a:r>
          </a:p>
          <a:p>
            <a:pPr marL="322326" indent="-257175">
              <a:buFont typeface="+mj-lt"/>
              <a:buAutoNum type="arabicPeriod"/>
            </a:pPr>
            <a:r>
              <a:rPr lang="de-DE" dirty="0"/>
              <a:t>Ursachen und Einflussfaktoren</a:t>
            </a:r>
          </a:p>
          <a:p>
            <a:pPr marL="322326" indent="-257175">
              <a:buFont typeface="+mj-lt"/>
              <a:buAutoNum type="arabicPeriod"/>
            </a:pPr>
            <a:r>
              <a:rPr lang="de-DE" dirty="0"/>
              <a:t>Risikofaktoren</a:t>
            </a:r>
          </a:p>
          <a:p>
            <a:pPr marL="322326" indent="-257175">
              <a:buFont typeface="+mj-lt"/>
              <a:buAutoNum type="arabicPeriod"/>
            </a:pPr>
            <a:r>
              <a:rPr lang="de-DE" dirty="0"/>
              <a:t>Symptome</a:t>
            </a:r>
            <a:endParaRPr lang="de-DE" dirty="0">
              <a:solidFill>
                <a:schemeClr val="tx1"/>
              </a:solidFill>
            </a:endParaRPr>
          </a:p>
          <a:p>
            <a:pPr marL="322326" indent="-257175">
              <a:buFont typeface="+mj-lt"/>
              <a:buAutoNum type="arabicPeriod"/>
            </a:pPr>
            <a:r>
              <a:rPr lang="de-DE" dirty="0"/>
              <a:t>Therapeutische und prophylaktische Maßnahmen</a:t>
            </a:r>
          </a:p>
          <a:p>
            <a:pPr marL="738188" lvl="1" indent="-373856">
              <a:buNone/>
              <a:tabLst>
                <a:tab pos="1002506" algn="l"/>
              </a:tabLst>
            </a:pPr>
            <a:r>
              <a:rPr lang="de-DE" dirty="0"/>
              <a:t>6.1	A = Air (Luft)</a:t>
            </a:r>
          </a:p>
          <a:p>
            <a:pPr marL="738188" lvl="1" indent="-373856">
              <a:buNone/>
            </a:pPr>
            <a:r>
              <a:rPr lang="de-DE" dirty="0"/>
              <a:t>6.2	B = </a:t>
            </a:r>
            <a:r>
              <a:rPr lang="de-DE" dirty="0" err="1"/>
              <a:t>Barriers</a:t>
            </a:r>
            <a:r>
              <a:rPr lang="de-DE" dirty="0"/>
              <a:t> (Barriere)</a:t>
            </a:r>
          </a:p>
          <a:p>
            <a:pPr marL="738188" lvl="1" indent="-373856">
              <a:buNone/>
            </a:pPr>
            <a:r>
              <a:rPr lang="de-DE" dirty="0"/>
              <a:t>6.3	C = </a:t>
            </a:r>
            <a:r>
              <a:rPr lang="de-DE" dirty="0" err="1"/>
              <a:t>Cleansings</a:t>
            </a:r>
            <a:r>
              <a:rPr lang="de-DE" dirty="0"/>
              <a:t> (Reinigung)</a:t>
            </a:r>
          </a:p>
          <a:p>
            <a:pPr marL="738188" lvl="1" indent="-373856">
              <a:buNone/>
            </a:pPr>
            <a:r>
              <a:rPr lang="de-DE" dirty="0"/>
              <a:t>6.4	D = </a:t>
            </a:r>
            <a:r>
              <a:rPr lang="de-DE" dirty="0" err="1"/>
              <a:t>Diapers</a:t>
            </a:r>
            <a:r>
              <a:rPr lang="de-DE" dirty="0"/>
              <a:t> (Windeln)</a:t>
            </a:r>
          </a:p>
          <a:p>
            <a:pPr marL="738188" lvl="1" indent="-373856">
              <a:buNone/>
            </a:pPr>
            <a:r>
              <a:rPr lang="de-DE" dirty="0"/>
              <a:t>6.5	E = Education (Bildung/Aufklärung)</a:t>
            </a:r>
          </a:p>
          <a:p>
            <a:pPr marL="336947" indent="-272654">
              <a:buFont typeface="+mj-lt"/>
              <a:buAutoNum type="arabicPeriod"/>
            </a:pPr>
            <a:r>
              <a:rPr lang="de-DE" dirty="0"/>
              <a:t>Literaturverzeichnis</a:t>
            </a:r>
          </a:p>
          <a:p>
            <a:pPr marL="322326" indent="-257175">
              <a:buFont typeface="+mj-lt"/>
              <a:buAutoNum type="arabicPeriod"/>
            </a:pPr>
            <a:endParaRPr lang="de-DE" sz="1050" dirty="0"/>
          </a:p>
          <a:p>
            <a:pPr marL="65151" indent="0">
              <a:buNone/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F8F3ED3-428C-148E-CCF3-4AD70CE2ACAD}"/>
              </a:ext>
            </a:extLst>
          </p:cNvPr>
          <p:cNvSpPr txBox="1">
            <a:spLocks/>
          </p:cNvSpPr>
          <p:nvPr/>
        </p:nvSpPr>
        <p:spPr>
          <a:xfrm>
            <a:off x="457200" y="4614597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  <p:extLst>
      <p:ext uri="{BB962C8B-B14F-4D97-AF65-F5344CB8AC3E}">
        <p14:creationId xmlns:p14="http://schemas.microsoft.com/office/powerpoint/2010/main" val="3013170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. Begriffserklärun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1125082"/>
            <a:ext cx="8238319" cy="3397757"/>
          </a:xfrm>
        </p:spPr>
        <p:txBody>
          <a:bodyPr>
            <a:normAutofit fontScale="92500" lnSpcReduction="20000"/>
          </a:bodyPr>
          <a:lstStyle/>
          <a:p>
            <a:r>
              <a:rPr lang="de-DE" b="1" dirty="0" err="1">
                <a:sym typeface="Wingdings" pitchFamily="2" charset="2"/>
              </a:rPr>
              <a:t>Hyperhydratisierung</a:t>
            </a:r>
            <a:r>
              <a:rPr lang="de-DE" b="1" dirty="0">
                <a:sym typeface="Wingdings" pitchFamily="2" charset="2"/>
              </a:rPr>
              <a:t> des </a:t>
            </a:r>
            <a:r>
              <a:rPr lang="de-DE" b="1" dirty="0" err="1">
                <a:sym typeface="Wingdings" pitchFamily="2" charset="2"/>
              </a:rPr>
              <a:t>Stratum</a:t>
            </a:r>
            <a:r>
              <a:rPr lang="de-DE" b="1" dirty="0">
                <a:sym typeface="Wingdings" pitchFamily="2" charset="2"/>
              </a:rPr>
              <a:t> </a:t>
            </a:r>
            <a:r>
              <a:rPr lang="de-DE" b="1" dirty="0" err="1">
                <a:sym typeface="Wingdings" pitchFamily="2" charset="2"/>
              </a:rPr>
              <a:t>corneum</a:t>
            </a:r>
            <a:r>
              <a:rPr lang="de-DE" b="1" dirty="0">
                <a:sym typeface="Wingdings" pitchFamily="2" charset="2"/>
              </a:rPr>
              <a:t>: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 Die Hornhaut wird mit (zu viel) Feuchtigkeit versorgt.</a:t>
            </a:r>
          </a:p>
          <a:p>
            <a:pPr>
              <a:spcBef>
                <a:spcPts val="900"/>
              </a:spcBef>
            </a:pPr>
            <a:r>
              <a:rPr lang="de-DE" b="1" dirty="0">
                <a:sym typeface="Wingdings" pitchFamily="2" charset="2"/>
              </a:rPr>
              <a:t>konfluierend: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/>
              <a:t>lateinisch </a:t>
            </a:r>
            <a:r>
              <a:rPr lang="de-DE" dirty="0" err="1"/>
              <a:t>confluere</a:t>
            </a:r>
            <a:r>
              <a:rPr lang="de-DE" dirty="0"/>
              <a:t> – zusammenfließen</a:t>
            </a:r>
            <a:endParaRPr lang="de-DE" b="1" dirty="0">
              <a:sym typeface="Wingdings" pitchFamily="2" charset="2"/>
            </a:endParaRPr>
          </a:p>
          <a:p>
            <a:pPr>
              <a:spcBef>
                <a:spcPts val="900"/>
              </a:spcBef>
            </a:pPr>
            <a:r>
              <a:rPr lang="de-DE" b="1" dirty="0" err="1">
                <a:sym typeface="Wingdings" pitchFamily="2" charset="2"/>
              </a:rPr>
              <a:t>Papulopusteln</a:t>
            </a:r>
            <a:r>
              <a:rPr lang="de-DE" b="1" dirty="0">
                <a:sym typeface="Wingdings" pitchFamily="2" charset="2"/>
              </a:rPr>
              <a:t>:</a:t>
            </a:r>
            <a:r>
              <a:rPr lang="de-DE" dirty="0">
                <a:sym typeface="Wingdings" pitchFamily="2" charset="2"/>
              </a:rPr>
              <a:t> entzündlicher Hautausschlag, der gleichzeitig Knötchen  Papeln und Eiterbläschen  Pusteln zeigt</a:t>
            </a:r>
            <a:r>
              <a:rPr lang="de-DE" dirty="0"/>
              <a:t> </a:t>
            </a:r>
            <a:endParaRPr lang="de-DE" dirty="0">
              <a:sym typeface="Wingdings" pitchFamily="2" charset="2"/>
            </a:endParaRPr>
          </a:p>
          <a:p>
            <a:pPr>
              <a:spcBef>
                <a:spcPts val="900"/>
              </a:spcBef>
            </a:pPr>
            <a:r>
              <a:rPr lang="de-DE" b="1" dirty="0">
                <a:sym typeface="Wingdings" pitchFamily="2" charset="2"/>
              </a:rPr>
              <a:t>Erosionen:</a:t>
            </a:r>
            <a:r>
              <a:rPr lang="de-DE" dirty="0"/>
              <a:t> Haut- oder Schleimhautveränderung, die durch einen Verlust der Epidermis (Oberhaut) bei intakter Lederhaut gekennzeichnet ist. Da die Lederhaut/Eigenschicht unverletzt bleibt, ist der Boden einer Erosion nicht blutend, kann aber nässend sein. </a:t>
            </a:r>
            <a:endParaRPr lang="de-DE" dirty="0">
              <a:sym typeface="Wingdings" pitchFamily="2" charset="2"/>
            </a:endParaRPr>
          </a:p>
          <a:p>
            <a:pPr>
              <a:spcBef>
                <a:spcPts val="900"/>
              </a:spcBef>
            </a:pPr>
            <a:r>
              <a:rPr lang="de-DE" b="1" dirty="0">
                <a:sym typeface="Wingdings" pitchFamily="2" charset="2"/>
              </a:rPr>
              <a:t>Ulzerationen:</a:t>
            </a:r>
            <a:r>
              <a:rPr lang="de-DE" dirty="0">
                <a:sym typeface="Wingdings" pitchFamily="2" charset="2"/>
              </a:rPr>
              <a:t> Geschwürbildung</a:t>
            </a:r>
          </a:p>
          <a:p>
            <a:pPr>
              <a:spcBef>
                <a:spcPts val="900"/>
              </a:spcBef>
            </a:pPr>
            <a:r>
              <a:rPr lang="de-DE" b="1" dirty="0"/>
              <a:t>Mazeration:</a:t>
            </a:r>
            <a:r>
              <a:rPr lang="de-DE" dirty="0"/>
              <a:t> aufweichen des Gewebes durch längeren Kontakt mit Flüssigk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87DCE1D-509A-B619-3461-E2D77914F1CC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Defini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2840" y="983984"/>
            <a:ext cx="8238319" cy="3641820"/>
          </a:xfrm>
        </p:spPr>
        <p:txBody>
          <a:bodyPr wrap="square"/>
          <a:lstStyle/>
          <a:p>
            <a:pPr>
              <a:buNone/>
            </a:pPr>
            <a:r>
              <a:rPr lang="de-DE" dirty="0"/>
              <a:t>Unter einer Windeldermatitis versteht man: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/>
              <a:t>einen Hautausschlag im Genital- und Gesäßbereich </a:t>
            </a:r>
            <a:br>
              <a:rPr lang="de-DE" dirty="0"/>
            </a:br>
            <a:r>
              <a:rPr lang="de-DE" dirty="0">
                <a:sym typeface="Wingdings" pitchFamily="2" charset="2"/>
              </a:rPr>
              <a:t> Windelbereich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>
                <a:sym typeface="Wingdings" pitchFamily="2" charset="2"/>
              </a:rPr>
              <a:t>hauptsächlich sind Säuglinge und Kleinkinder betroffen, hohe Inzidenz (7</a:t>
            </a:r>
            <a:r>
              <a:rPr lang="de-DE" dirty="0"/>
              <a:t>–</a:t>
            </a:r>
            <a:r>
              <a:rPr lang="de-DE" dirty="0">
                <a:sym typeface="Wingdings" pitchFamily="2" charset="2"/>
              </a:rPr>
              <a:t>35 %) im 9. bis 12. Lebensmonat  Typ I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>
                <a:sym typeface="Wingdings" pitchFamily="2" charset="2"/>
              </a:rPr>
              <a:t>aber auch ältere, bettlägerige und inkontinente Personen, die eine Inkontinenzversorgung benötigen  Typ II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>
                <a:sym typeface="Wingdings" pitchFamily="2" charset="2"/>
              </a:rPr>
              <a:t>verstärkte Ausbereitung auf Rücken, Unterbauch und Oberschenkel möglich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>
                <a:sym typeface="Wingdings" pitchFamily="2" charset="2"/>
              </a:rPr>
              <a:t>zusätzlich können auch Pilze und Bakterien diesen Bereich infizieren  Sekundärinfektion, Superinfektion</a:t>
            </a:r>
          </a:p>
          <a:p>
            <a:pPr>
              <a:spcBef>
                <a:spcPts val="450"/>
              </a:spcBef>
              <a:spcAft>
                <a:spcPts val="450"/>
              </a:spcAft>
            </a:pPr>
            <a:endParaRPr lang="de-DE" dirty="0">
              <a:sym typeface="Wingdings" pitchFamily="2" charset="2"/>
            </a:endParaRP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0D307C7-2CF5-E661-7198-6F6CC1247C4A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Ursachen und Einflussfaktor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/>
              <a:t>okklusive (abgeschlossene) Verhältnisse in der Windel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/>
              <a:t>feucht-warmes Klima </a:t>
            </a:r>
            <a:r>
              <a:rPr lang="de-DE" dirty="0">
                <a:sym typeface="Wingdings" pitchFamily="2" charset="2"/>
              </a:rPr>
              <a:t> </a:t>
            </a:r>
            <a:r>
              <a:rPr lang="de-DE" dirty="0" err="1">
                <a:sym typeface="Wingdings" pitchFamily="2" charset="2"/>
              </a:rPr>
              <a:t>Hyperhydratisierung</a:t>
            </a:r>
            <a:r>
              <a:rPr lang="de-DE" dirty="0">
                <a:sym typeface="Wingdings" pitchFamily="2" charset="2"/>
              </a:rPr>
              <a:t> des </a:t>
            </a:r>
            <a:r>
              <a:rPr lang="de-DE" dirty="0" err="1">
                <a:sym typeface="Wingdings" pitchFamily="2" charset="2"/>
              </a:rPr>
              <a:t>Stratum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corneum</a:t>
            </a:r>
            <a:endParaRPr lang="de-DE" dirty="0"/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/>
              <a:t>längerer Hautkontakt mit Stuhl und Urin </a:t>
            </a:r>
            <a:r>
              <a:rPr lang="de-DE" dirty="0">
                <a:sym typeface="Wingdings" pitchFamily="2" charset="2"/>
              </a:rPr>
              <a:t> Irritation der Haut</a:t>
            </a:r>
            <a:endParaRPr lang="de-DE" dirty="0"/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/>
              <a:t>mechanische Schädigung durch Reiben, Scheuern der Windel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/>
              <a:t>Erhöhung/</a:t>
            </a:r>
            <a:r>
              <a:rPr lang="de-DE" dirty="0" err="1"/>
              <a:t>Alkalisierung</a:t>
            </a:r>
            <a:r>
              <a:rPr lang="de-DE" dirty="0"/>
              <a:t> des Haut </a:t>
            </a:r>
            <a:r>
              <a:rPr lang="de-DE" dirty="0" err="1"/>
              <a:t>ph-Werts</a:t>
            </a:r>
            <a:r>
              <a:rPr lang="de-DE" dirty="0"/>
              <a:t>, z.B. durch Stuhlenzyme (Trypsin, Lipasen, </a:t>
            </a:r>
            <a:r>
              <a:rPr lang="de-DE" dirty="0" err="1"/>
              <a:t>Ureasen</a:t>
            </a:r>
            <a:r>
              <a:rPr lang="de-DE" dirty="0"/>
              <a:t>) </a:t>
            </a:r>
            <a:r>
              <a:rPr lang="de-DE" dirty="0">
                <a:sym typeface="Wingdings" pitchFamily="2" charset="2"/>
              </a:rPr>
              <a:t> hauteigener antimikrobieller Schutz wird herabgesetzt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>
                <a:sym typeface="Wingdings" pitchFamily="2" charset="2"/>
              </a:rPr>
              <a:t>evtl. Reaktion auf Nahrungsumstellung, z.B. fruchtsäurehaltige Lebensmittel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de-DE" dirty="0" err="1">
                <a:sym typeface="Wingdings" pitchFamily="2" charset="2"/>
              </a:rPr>
              <a:t>Durchfallerkrankungen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615C27B-E3DF-5643-1A09-4E8DF2E85E5E}"/>
              </a:ext>
            </a:extLst>
          </p:cNvPr>
          <p:cNvSpPr txBox="1">
            <a:spLocks/>
          </p:cNvSpPr>
          <p:nvPr/>
        </p:nvSpPr>
        <p:spPr>
          <a:xfrm>
            <a:off x="448482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  <p:extLst>
      <p:ext uri="{BB962C8B-B14F-4D97-AF65-F5344CB8AC3E}">
        <p14:creationId xmlns:p14="http://schemas.microsoft.com/office/powerpoint/2010/main" val="783442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Risikofaktor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24233" y="1028700"/>
            <a:ext cx="6821274" cy="3585897"/>
          </a:xfrm>
        </p:spPr>
        <p:txBody>
          <a:bodyPr>
            <a:normAutofit fontScale="85000" lnSpcReduction="20000"/>
          </a:bodyPr>
          <a:lstStyle/>
          <a:p>
            <a:pPr marL="0" indent="0">
              <a:spcBef>
                <a:spcPts val="300"/>
              </a:spcBef>
              <a:buNone/>
            </a:pPr>
            <a:r>
              <a:rPr lang="de-DE" sz="1425" dirty="0"/>
              <a:t>Die Haut eines Babys/Kindes unterscheidet sich von der Erwachsenenhaut in wesentlichen Punkten:</a:t>
            </a:r>
          </a:p>
          <a:p>
            <a:pPr marL="201216" indent="-201216">
              <a:spcBef>
                <a:spcPts val="900"/>
              </a:spcBef>
            </a:pPr>
            <a:r>
              <a:rPr lang="de-DE" sz="1425" dirty="0"/>
              <a:t>insgesamt ca. 20% dünner </a:t>
            </a:r>
          </a:p>
          <a:p>
            <a:pPr marL="501254" lvl="1" indent="-201216">
              <a:spcBef>
                <a:spcPts val="0"/>
              </a:spcBef>
              <a:buNone/>
            </a:pPr>
            <a:r>
              <a:rPr lang="de-DE" sz="1275" dirty="0">
                <a:sym typeface="Wingdings" pitchFamily="2" charset="2"/>
              </a:rPr>
              <a:t>	</a:t>
            </a:r>
            <a:r>
              <a:rPr lang="de-DE" sz="1425" dirty="0">
                <a:sym typeface="Wingdings" pitchFamily="2" charset="2"/>
              </a:rPr>
              <a:t> empfindlicher gegen mechanische und chemische Einflüsse</a:t>
            </a:r>
          </a:p>
          <a:p>
            <a:pPr marL="201216" indent="-201216">
              <a:spcBef>
                <a:spcPts val="900"/>
              </a:spcBef>
            </a:pPr>
            <a:r>
              <a:rPr lang="de-DE" sz="1425" dirty="0"/>
              <a:t>Hornschicht ist ca. 30% dünner, Hornschichtzellen weniger dicht gelagert </a:t>
            </a:r>
          </a:p>
          <a:p>
            <a:pPr marL="501254" lvl="1" indent="-201216">
              <a:spcBef>
                <a:spcPts val="0"/>
              </a:spcBef>
              <a:buNone/>
            </a:pPr>
            <a:r>
              <a:rPr lang="de-DE" sz="1275" dirty="0">
                <a:sym typeface="Wingdings" pitchFamily="2" charset="2"/>
              </a:rPr>
              <a:t>	</a:t>
            </a:r>
            <a:r>
              <a:rPr lang="de-DE" sz="1425" dirty="0">
                <a:sym typeface="Wingdings" pitchFamily="2" charset="2"/>
              </a:rPr>
              <a:t> </a:t>
            </a:r>
            <a:r>
              <a:rPr lang="de-DE" sz="1425" dirty="0" err="1">
                <a:sym typeface="Wingdings" pitchFamily="2" charset="2"/>
              </a:rPr>
              <a:t>Barrierefunktion</a:t>
            </a:r>
            <a:r>
              <a:rPr lang="de-DE" sz="1425" dirty="0">
                <a:sym typeface="Wingdings" pitchFamily="2" charset="2"/>
              </a:rPr>
              <a:t> herabgesetzt, Erreger können leichter eindringen.</a:t>
            </a:r>
          </a:p>
          <a:p>
            <a:pPr marL="201216" indent="-201216">
              <a:spcBef>
                <a:spcPts val="900"/>
              </a:spcBef>
            </a:pPr>
            <a:r>
              <a:rPr lang="de-DE" sz="1425" dirty="0"/>
              <a:t>die Kollagen- und </a:t>
            </a:r>
            <a:r>
              <a:rPr lang="de-DE" sz="1425" dirty="0" err="1"/>
              <a:t>Elastinfasern</a:t>
            </a:r>
            <a:r>
              <a:rPr lang="de-DE" sz="1425" dirty="0"/>
              <a:t> sind kürzer und dünner</a:t>
            </a:r>
          </a:p>
          <a:p>
            <a:pPr marL="501254" lvl="1" indent="-201216">
              <a:spcBef>
                <a:spcPts val="0"/>
              </a:spcBef>
              <a:buNone/>
            </a:pPr>
            <a:r>
              <a:rPr lang="de-DE" sz="1425" dirty="0">
                <a:sym typeface="Wingdings" pitchFamily="2" charset="2"/>
              </a:rPr>
              <a:t>	 die Haut ist weniger elastisch.</a:t>
            </a:r>
          </a:p>
          <a:p>
            <a:pPr marL="201216" indent="-201216">
              <a:spcBef>
                <a:spcPts val="900"/>
              </a:spcBef>
            </a:pPr>
            <a:r>
              <a:rPr lang="de-DE" sz="1425" dirty="0">
                <a:sym typeface="Wingdings" pitchFamily="2" charset="2"/>
              </a:rPr>
              <a:t>die Funktion der Schweiß- und Talgdrüsen ist herabgesetzt </a:t>
            </a:r>
          </a:p>
          <a:p>
            <a:pPr marL="501254" lvl="1" indent="-201216">
              <a:spcBef>
                <a:spcPts val="0"/>
              </a:spcBef>
              <a:buNone/>
            </a:pPr>
            <a:r>
              <a:rPr lang="de-DE" sz="1275" dirty="0">
                <a:sym typeface="Wingdings" pitchFamily="2" charset="2"/>
              </a:rPr>
              <a:t>	</a:t>
            </a:r>
            <a:r>
              <a:rPr lang="de-DE" sz="1425" dirty="0">
                <a:sym typeface="Wingdings" pitchFamily="2" charset="2"/>
              </a:rPr>
              <a:t> der Säureschutzmantel ist weniger stabil.</a:t>
            </a:r>
          </a:p>
          <a:p>
            <a:pPr marL="201216" indent="-201216">
              <a:spcBef>
                <a:spcPts val="900"/>
              </a:spcBef>
            </a:pPr>
            <a:r>
              <a:rPr lang="de-DE" sz="1425" dirty="0" err="1">
                <a:sym typeface="Wingdings" pitchFamily="2" charset="2"/>
              </a:rPr>
              <a:t>ph</a:t>
            </a:r>
            <a:r>
              <a:rPr lang="de-DE" sz="1425" dirty="0">
                <a:sym typeface="Wingdings" pitchFamily="2" charset="2"/>
              </a:rPr>
              <a:t>-Wert und der </a:t>
            </a:r>
            <a:r>
              <a:rPr lang="de-DE" sz="1425" dirty="0" err="1">
                <a:sym typeface="Wingdings" pitchFamily="2" charset="2"/>
              </a:rPr>
              <a:t>Lipidfilm</a:t>
            </a:r>
            <a:r>
              <a:rPr lang="de-DE" sz="1425" dirty="0">
                <a:sym typeface="Wingdings" pitchFamily="2" charset="2"/>
              </a:rPr>
              <a:t> schwanken</a:t>
            </a:r>
          </a:p>
          <a:p>
            <a:pPr marL="501254" lvl="1" indent="-201216">
              <a:spcBef>
                <a:spcPts val="0"/>
              </a:spcBef>
              <a:buNone/>
            </a:pPr>
            <a:r>
              <a:rPr lang="de-DE" sz="1275" dirty="0">
                <a:sym typeface="Wingdings" pitchFamily="2" charset="2"/>
              </a:rPr>
              <a:t>	</a:t>
            </a:r>
            <a:r>
              <a:rPr lang="de-DE" sz="1425" dirty="0">
                <a:sym typeface="Wingdings" pitchFamily="2" charset="2"/>
              </a:rPr>
              <a:t> Flüssigkeit wird gut aufgenommen, geht schnell wieder verloren.</a:t>
            </a:r>
          </a:p>
          <a:p>
            <a:pPr marL="201216" indent="-201216">
              <a:spcBef>
                <a:spcPts val="900"/>
              </a:spcBef>
            </a:pPr>
            <a:r>
              <a:rPr lang="de-DE" sz="1425" dirty="0">
                <a:sym typeface="Wingdings" pitchFamily="2" charset="2"/>
              </a:rPr>
              <a:t>fehlendes Unterhautfettgewebe</a:t>
            </a:r>
          </a:p>
          <a:p>
            <a:pPr marL="501254" lvl="1" indent="-201216">
              <a:spcBef>
                <a:spcPts val="0"/>
              </a:spcBef>
              <a:buNone/>
            </a:pPr>
            <a:r>
              <a:rPr lang="de-DE" sz="1125" dirty="0">
                <a:sym typeface="Wingdings" pitchFamily="2" charset="2"/>
              </a:rPr>
              <a:t>	</a:t>
            </a:r>
            <a:r>
              <a:rPr lang="de-DE" sz="1425" dirty="0">
                <a:sym typeface="Wingdings" pitchFamily="2" charset="2"/>
              </a:rPr>
              <a:t> Gefahr einer beschleunigten Auskühlung</a:t>
            </a:r>
            <a:endParaRPr lang="de-DE" sz="1425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85E5C4-615A-7841-1000-490E1A6535D9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2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2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2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2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2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2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2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2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2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2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2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2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2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2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1485898" y="1028700"/>
            <a:ext cx="6202211" cy="3769992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900"/>
              </a:spcBef>
            </a:pPr>
            <a:r>
              <a:rPr lang="de-DE" dirty="0"/>
              <a:t>unscharf gerötete Haut </a:t>
            </a:r>
            <a:r>
              <a:rPr lang="de-DE" dirty="0">
                <a:sym typeface="Wingdings" pitchFamily="2" charset="2"/>
              </a:rPr>
              <a:t> </a:t>
            </a:r>
            <a:r>
              <a:rPr lang="de-DE" b="1" dirty="0">
                <a:sym typeface="Wingdings" pitchFamily="2" charset="2"/>
              </a:rPr>
              <a:t>flächiges, konfluierendes Erythem</a:t>
            </a:r>
          </a:p>
          <a:p>
            <a:pPr>
              <a:spcBef>
                <a:spcPts val="900"/>
              </a:spcBef>
            </a:pPr>
            <a:r>
              <a:rPr lang="de-DE" dirty="0">
                <a:sym typeface="Wingdings" pitchFamily="2" charset="2"/>
              </a:rPr>
              <a:t>Schwere Formen zeigen </a:t>
            </a:r>
            <a:r>
              <a:rPr lang="de-DE" dirty="0" err="1">
                <a:sym typeface="Wingdings" pitchFamily="2" charset="2"/>
              </a:rPr>
              <a:t>Papulopusteln</a:t>
            </a:r>
            <a:r>
              <a:rPr lang="de-DE" dirty="0">
                <a:sym typeface="Wingdings" pitchFamily="2" charset="2"/>
              </a:rPr>
              <a:t>, Erosionen und Ulzerationen.</a:t>
            </a:r>
          </a:p>
          <a:p>
            <a:pPr>
              <a:spcBef>
                <a:spcPts val="900"/>
              </a:spcBef>
            </a:pPr>
            <a:r>
              <a:rPr lang="de-DE" dirty="0"/>
              <a:t>Hautfalten häufig weniger betroffen, eher die Hautareale, die mit der Windel in Kontakt sind </a:t>
            </a:r>
            <a:r>
              <a:rPr lang="de-DE" dirty="0">
                <a:sym typeface="Wingdings" pitchFamily="2" charset="2"/>
              </a:rPr>
              <a:t> konvexe Oberflächen</a:t>
            </a:r>
          </a:p>
          <a:p>
            <a:pPr>
              <a:spcBef>
                <a:spcPts val="900"/>
              </a:spcBef>
            </a:pPr>
            <a:r>
              <a:rPr lang="de-DE" dirty="0">
                <a:sym typeface="Wingdings" pitchFamily="2" charset="2"/>
              </a:rPr>
              <a:t>starker Juckreiz und Schmerzen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besonders beim Wickeln</a:t>
            </a:r>
          </a:p>
          <a:p>
            <a:pPr>
              <a:spcBef>
                <a:spcPts val="900"/>
              </a:spcBef>
            </a:pPr>
            <a:r>
              <a:rPr lang="de-DE" dirty="0"/>
              <a:t>Zeichen einer Mazeration </a:t>
            </a:r>
            <a:br>
              <a:rPr lang="de-DE" dirty="0"/>
            </a:br>
            <a:r>
              <a:rPr lang="de-DE" dirty="0"/>
              <a:t>erkennbar</a:t>
            </a:r>
          </a:p>
          <a:p>
            <a:pPr>
              <a:spcBef>
                <a:spcPts val="900"/>
              </a:spcBef>
            </a:pPr>
            <a:r>
              <a:rPr lang="de-DE" dirty="0"/>
              <a:t>teilweise nässende Hautstellen</a:t>
            </a:r>
            <a:br>
              <a:rPr lang="de-DE" dirty="0"/>
            </a:br>
            <a:r>
              <a:rPr lang="de-DE" dirty="0"/>
              <a:t>sichtba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Symptome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5949087" y="4509820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350" dirty="0"/>
          </a:p>
        </p:txBody>
      </p:sp>
      <p:sp>
        <p:nvSpPr>
          <p:cNvPr id="4" name="Textfeld 3"/>
          <p:cNvSpPr txBox="1"/>
          <p:nvPr/>
        </p:nvSpPr>
        <p:spPr>
          <a:xfrm>
            <a:off x="5062447" y="4461381"/>
            <a:ext cx="280714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25" dirty="0"/>
              <a:t>Windeldermatitis              </a:t>
            </a:r>
            <a:r>
              <a:rPr lang="de-DE" sz="525" dirty="0"/>
              <a:t>A. </a:t>
            </a:r>
            <a:r>
              <a:rPr lang="de-DE" sz="525" dirty="0" err="1"/>
              <a:t>Lentner</a:t>
            </a:r>
            <a:r>
              <a:rPr lang="de-DE" sz="525" dirty="0"/>
              <a:t>, Aachen </a:t>
            </a:r>
            <a:r>
              <a:rPr lang="de-DE" sz="600" baseline="30000" dirty="0"/>
              <a:t>® </a:t>
            </a:r>
            <a:r>
              <a:rPr lang="de-DE" sz="525" dirty="0" err="1"/>
              <a:t>Elsevier</a:t>
            </a:r>
            <a:r>
              <a:rPr lang="de-DE" sz="525" dirty="0"/>
              <a:t> GmbH, München</a:t>
            </a:r>
            <a:endParaRPr lang="en-US" sz="525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A7F7822-C413-4EEF-A188-36F655F8B98E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  <p:pic>
        <p:nvPicPr>
          <p:cNvPr id="11" name="Inhaltsplatzhalter 10">
            <a:extLst>
              <a:ext uri="{FF2B5EF4-FFF2-40B4-BE49-F238E27FC236}">
                <a16:creationId xmlns:a16="http://schemas.microsoft.com/office/drawing/2014/main" id="{B95BF7E8-BFE3-8D1D-27A8-AD8D7D0C5F02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/>
          <a:stretch>
            <a:fillRect/>
          </a:stretch>
        </p:blipFill>
        <p:spPr>
          <a:xfrm>
            <a:off x="5573120" y="2882804"/>
            <a:ext cx="2210253" cy="1534109"/>
          </a:xfr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6. Therapeutische und prophylaktische Maßnahm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47252" y="934065"/>
            <a:ext cx="7216877" cy="3470787"/>
          </a:xfrm>
        </p:spPr>
        <p:txBody>
          <a:bodyPr>
            <a:normAutofit/>
          </a:bodyPr>
          <a:lstStyle/>
          <a:p>
            <a:pPr marL="0" indent="0">
              <a:spcBef>
                <a:spcPts val="3600"/>
              </a:spcBef>
              <a:buNone/>
            </a:pPr>
            <a:r>
              <a:rPr lang="de-DE" dirty="0"/>
              <a:t>Die therapeutischen Maßnahmen werden unter dem Akronym „ABCDE“ (Höger, 2020, S. 54) gegliedert– diese können auch Wegweiser für prophylaktische Vorgehensmaßnahmen geben.</a:t>
            </a:r>
          </a:p>
          <a:p>
            <a:pPr marL="0" indent="0">
              <a:spcBef>
                <a:spcPts val="3600"/>
              </a:spcBef>
              <a:buNone/>
            </a:pPr>
            <a:br>
              <a:rPr lang="de-DE" dirty="0"/>
            </a:br>
            <a:r>
              <a:rPr lang="de-DE" dirty="0"/>
              <a:t>					</a:t>
            </a:r>
            <a:br>
              <a:rPr lang="de-DE" dirty="0"/>
            </a:br>
            <a:r>
              <a:rPr lang="de-DE" dirty="0"/>
              <a:t>						</a:t>
            </a:r>
            <a:endParaRPr lang="de-DE" sz="1200" b="1" dirty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endParaRPr lang="de-DE" sz="1200" b="1" dirty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endParaRPr lang="de-DE" sz="2700" b="1" dirty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endParaRPr lang="de-DE" b="1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091018" y="1922092"/>
            <a:ext cx="844300" cy="694058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1356852" y="1963012"/>
            <a:ext cx="73416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000" b="1" dirty="0">
                <a:solidFill>
                  <a:srgbClr val="00739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  <a:r>
              <a:rPr lang="de-DE" sz="1200" dirty="0">
                <a:solidFill>
                  <a:srgbClr val="00739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r</a:t>
            </a:r>
            <a:endParaRPr lang="de-DE" sz="2700" dirty="0">
              <a:solidFill>
                <a:srgbClr val="00739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50" name="Firewall"/>
          <p:cNvSpPr>
            <a:spLocks noEditPoints="1" noChangeArrowheads="1"/>
          </p:cNvSpPr>
          <p:nvPr/>
        </p:nvSpPr>
        <p:spPr bwMode="auto">
          <a:xfrm>
            <a:off x="4361374" y="1936117"/>
            <a:ext cx="900533" cy="531095"/>
          </a:xfrm>
          <a:custGeom>
            <a:avLst/>
            <a:gdLst>
              <a:gd name="T0" fmla="*/ 0 w 21600"/>
              <a:gd name="T1" fmla="*/ 0 h 21600"/>
              <a:gd name="T2" fmla="*/ 10800 w 21600"/>
              <a:gd name="T3" fmla="*/ 0 h 21600"/>
              <a:gd name="T4" fmla="*/ 21600 w 21600"/>
              <a:gd name="T5" fmla="*/ 0 h 21600"/>
              <a:gd name="T6" fmla="*/ 21060 w 21600"/>
              <a:gd name="T7" fmla="*/ 10800 h 21600"/>
              <a:gd name="T8" fmla="*/ 21060 w 21600"/>
              <a:gd name="T9" fmla="*/ 21600 h 21600"/>
              <a:gd name="T10" fmla="*/ 10800 w 21600"/>
              <a:gd name="T11" fmla="*/ 21600 h 21600"/>
              <a:gd name="T12" fmla="*/ 540 w 21600"/>
              <a:gd name="T13" fmla="*/ 21600 h 21600"/>
              <a:gd name="T14" fmla="*/ 540 w 21600"/>
              <a:gd name="T15" fmla="*/ 10800 h 21600"/>
              <a:gd name="T16" fmla="*/ 761 w 21600"/>
              <a:gd name="T17" fmla="*/ 22454 h 21600"/>
              <a:gd name="T18" fmla="*/ 21069 w 21600"/>
              <a:gd name="T19" fmla="*/ 3228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 extrusionOk="0">
                <a:moveTo>
                  <a:pt x="540" y="4628"/>
                </a:moveTo>
                <a:lnTo>
                  <a:pt x="0" y="4628"/>
                </a:lnTo>
                <a:lnTo>
                  <a:pt x="0" y="0"/>
                </a:lnTo>
                <a:lnTo>
                  <a:pt x="21600" y="0"/>
                </a:lnTo>
                <a:lnTo>
                  <a:pt x="21600" y="4628"/>
                </a:lnTo>
                <a:lnTo>
                  <a:pt x="21060" y="4628"/>
                </a:lnTo>
                <a:lnTo>
                  <a:pt x="21060" y="21600"/>
                </a:lnTo>
                <a:lnTo>
                  <a:pt x="540" y="21600"/>
                </a:lnTo>
                <a:lnTo>
                  <a:pt x="540" y="4628"/>
                </a:lnTo>
                <a:close/>
              </a:path>
              <a:path w="21600" h="21600" extrusionOk="0">
                <a:moveTo>
                  <a:pt x="540" y="4628"/>
                </a:moveTo>
                <a:lnTo>
                  <a:pt x="540" y="6171"/>
                </a:lnTo>
                <a:lnTo>
                  <a:pt x="2700" y="6171"/>
                </a:lnTo>
                <a:lnTo>
                  <a:pt x="2700" y="4628"/>
                </a:lnTo>
                <a:lnTo>
                  <a:pt x="540" y="4628"/>
                </a:lnTo>
                <a:close/>
              </a:path>
              <a:path w="21600" h="21600" extrusionOk="0">
                <a:moveTo>
                  <a:pt x="2700" y="4628"/>
                </a:moveTo>
                <a:lnTo>
                  <a:pt x="2700" y="6171"/>
                </a:lnTo>
                <a:lnTo>
                  <a:pt x="4860" y="6171"/>
                </a:lnTo>
                <a:lnTo>
                  <a:pt x="4860" y="4628"/>
                </a:lnTo>
                <a:lnTo>
                  <a:pt x="2700" y="4628"/>
                </a:lnTo>
                <a:close/>
              </a:path>
              <a:path w="21600" h="21600" extrusionOk="0">
                <a:moveTo>
                  <a:pt x="4860" y="4628"/>
                </a:moveTo>
                <a:lnTo>
                  <a:pt x="4860" y="6171"/>
                </a:lnTo>
                <a:lnTo>
                  <a:pt x="7020" y="6171"/>
                </a:lnTo>
                <a:lnTo>
                  <a:pt x="7020" y="4628"/>
                </a:lnTo>
                <a:lnTo>
                  <a:pt x="4860" y="4628"/>
                </a:lnTo>
                <a:close/>
              </a:path>
              <a:path w="21600" h="21600" extrusionOk="0">
                <a:moveTo>
                  <a:pt x="7020" y="4628"/>
                </a:moveTo>
                <a:lnTo>
                  <a:pt x="7020" y="6171"/>
                </a:lnTo>
                <a:lnTo>
                  <a:pt x="9180" y="6171"/>
                </a:lnTo>
                <a:lnTo>
                  <a:pt x="9180" y="4628"/>
                </a:lnTo>
                <a:lnTo>
                  <a:pt x="7020" y="4628"/>
                </a:lnTo>
                <a:close/>
              </a:path>
              <a:path w="21600" h="21600" extrusionOk="0">
                <a:moveTo>
                  <a:pt x="9180" y="4628"/>
                </a:moveTo>
                <a:lnTo>
                  <a:pt x="9180" y="6171"/>
                </a:lnTo>
                <a:lnTo>
                  <a:pt x="11340" y="6171"/>
                </a:lnTo>
                <a:lnTo>
                  <a:pt x="11340" y="4628"/>
                </a:lnTo>
                <a:lnTo>
                  <a:pt x="9180" y="4628"/>
                </a:lnTo>
                <a:close/>
              </a:path>
              <a:path w="21600" h="21600" extrusionOk="0">
                <a:moveTo>
                  <a:pt x="11340" y="4628"/>
                </a:moveTo>
                <a:lnTo>
                  <a:pt x="11340" y="6171"/>
                </a:lnTo>
                <a:lnTo>
                  <a:pt x="13500" y="6171"/>
                </a:lnTo>
                <a:lnTo>
                  <a:pt x="13500" y="4628"/>
                </a:lnTo>
                <a:lnTo>
                  <a:pt x="11340" y="4628"/>
                </a:lnTo>
                <a:close/>
              </a:path>
              <a:path w="21600" h="21600" extrusionOk="0">
                <a:moveTo>
                  <a:pt x="13500" y="4628"/>
                </a:moveTo>
                <a:lnTo>
                  <a:pt x="13500" y="6171"/>
                </a:lnTo>
                <a:lnTo>
                  <a:pt x="15660" y="6171"/>
                </a:lnTo>
                <a:lnTo>
                  <a:pt x="15660" y="4628"/>
                </a:lnTo>
                <a:lnTo>
                  <a:pt x="13500" y="4628"/>
                </a:lnTo>
                <a:close/>
              </a:path>
              <a:path w="21600" h="21600" extrusionOk="0">
                <a:moveTo>
                  <a:pt x="15660" y="4628"/>
                </a:moveTo>
                <a:lnTo>
                  <a:pt x="15660" y="6171"/>
                </a:lnTo>
                <a:lnTo>
                  <a:pt x="17820" y="6171"/>
                </a:lnTo>
                <a:lnTo>
                  <a:pt x="17820" y="4628"/>
                </a:lnTo>
                <a:lnTo>
                  <a:pt x="15660" y="4628"/>
                </a:lnTo>
                <a:close/>
              </a:path>
              <a:path w="21600" h="21600" extrusionOk="0">
                <a:moveTo>
                  <a:pt x="17820" y="4628"/>
                </a:moveTo>
                <a:lnTo>
                  <a:pt x="17820" y="6171"/>
                </a:lnTo>
                <a:lnTo>
                  <a:pt x="19980" y="6171"/>
                </a:lnTo>
                <a:lnTo>
                  <a:pt x="19980" y="4628"/>
                </a:lnTo>
                <a:lnTo>
                  <a:pt x="17820" y="4628"/>
                </a:lnTo>
                <a:close/>
              </a:path>
              <a:path w="21600" h="21600" extrusionOk="0">
                <a:moveTo>
                  <a:pt x="1620" y="6171"/>
                </a:moveTo>
                <a:lnTo>
                  <a:pt x="1620" y="7714"/>
                </a:lnTo>
                <a:lnTo>
                  <a:pt x="3779" y="7714"/>
                </a:lnTo>
                <a:lnTo>
                  <a:pt x="3779" y="6171"/>
                </a:lnTo>
                <a:lnTo>
                  <a:pt x="1620" y="6171"/>
                </a:lnTo>
                <a:close/>
              </a:path>
              <a:path w="21600" h="21600" extrusionOk="0">
                <a:moveTo>
                  <a:pt x="3779" y="6171"/>
                </a:moveTo>
                <a:lnTo>
                  <a:pt x="3779" y="7714"/>
                </a:lnTo>
                <a:lnTo>
                  <a:pt x="5940" y="7714"/>
                </a:lnTo>
                <a:lnTo>
                  <a:pt x="5940" y="6171"/>
                </a:lnTo>
                <a:lnTo>
                  <a:pt x="3779" y="6171"/>
                </a:lnTo>
                <a:close/>
              </a:path>
              <a:path w="21600" h="21600" extrusionOk="0">
                <a:moveTo>
                  <a:pt x="5940" y="6171"/>
                </a:moveTo>
                <a:lnTo>
                  <a:pt x="5940" y="7714"/>
                </a:lnTo>
                <a:lnTo>
                  <a:pt x="8100" y="7714"/>
                </a:lnTo>
                <a:lnTo>
                  <a:pt x="8100" y="6171"/>
                </a:lnTo>
                <a:lnTo>
                  <a:pt x="5940" y="6171"/>
                </a:lnTo>
                <a:close/>
              </a:path>
              <a:path w="21600" h="21600" extrusionOk="0">
                <a:moveTo>
                  <a:pt x="8100" y="6171"/>
                </a:moveTo>
                <a:lnTo>
                  <a:pt x="8100" y="7714"/>
                </a:lnTo>
                <a:lnTo>
                  <a:pt x="10260" y="7714"/>
                </a:lnTo>
                <a:lnTo>
                  <a:pt x="10260" y="6171"/>
                </a:lnTo>
                <a:lnTo>
                  <a:pt x="8100" y="6171"/>
                </a:lnTo>
                <a:close/>
              </a:path>
              <a:path w="21600" h="21600" extrusionOk="0">
                <a:moveTo>
                  <a:pt x="10260" y="6171"/>
                </a:moveTo>
                <a:lnTo>
                  <a:pt x="10260" y="7714"/>
                </a:lnTo>
                <a:lnTo>
                  <a:pt x="12419" y="7714"/>
                </a:lnTo>
                <a:lnTo>
                  <a:pt x="12419" y="6171"/>
                </a:lnTo>
                <a:lnTo>
                  <a:pt x="10260" y="6171"/>
                </a:lnTo>
                <a:close/>
              </a:path>
              <a:path w="21600" h="21600" extrusionOk="0">
                <a:moveTo>
                  <a:pt x="12419" y="6171"/>
                </a:moveTo>
                <a:lnTo>
                  <a:pt x="12419" y="7714"/>
                </a:lnTo>
                <a:lnTo>
                  <a:pt x="14580" y="7714"/>
                </a:lnTo>
                <a:lnTo>
                  <a:pt x="14580" y="6171"/>
                </a:lnTo>
                <a:lnTo>
                  <a:pt x="12419" y="6171"/>
                </a:lnTo>
                <a:close/>
              </a:path>
              <a:path w="21600" h="21600" extrusionOk="0">
                <a:moveTo>
                  <a:pt x="14580" y="6171"/>
                </a:moveTo>
                <a:lnTo>
                  <a:pt x="14580" y="7714"/>
                </a:lnTo>
                <a:lnTo>
                  <a:pt x="16740" y="7714"/>
                </a:lnTo>
                <a:lnTo>
                  <a:pt x="16740" y="6171"/>
                </a:lnTo>
                <a:lnTo>
                  <a:pt x="14580" y="6171"/>
                </a:lnTo>
                <a:close/>
              </a:path>
              <a:path w="21600" h="21600" extrusionOk="0">
                <a:moveTo>
                  <a:pt x="16740" y="6171"/>
                </a:moveTo>
                <a:lnTo>
                  <a:pt x="16740" y="7714"/>
                </a:lnTo>
                <a:lnTo>
                  <a:pt x="18900" y="7714"/>
                </a:lnTo>
                <a:lnTo>
                  <a:pt x="18900" y="6171"/>
                </a:lnTo>
                <a:lnTo>
                  <a:pt x="16740" y="6171"/>
                </a:lnTo>
                <a:close/>
              </a:path>
              <a:path w="21600" h="21600" extrusionOk="0">
                <a:moveTo>
                  <a:pt x="18900" y="6171"/>
                </a:moveTo>
                <a:lnTo>
                  <a:pt x="18900" y="7714"/>
                </a:lnTo>
                <a:lnTo>
                  <a:pt x="21060" y="7714"/>
                </a:lnTo>
                <a:lnTo>
                  <a:pt x="21060" y="6171"/>
                </a:lnTo>
                <a:lnTo>
                  <a:pt x="18900" y="6171"/>
                </a:lnTo>
                <a:close/>
              </a:path>
              <a:path w="21600" h="21600" extrusionOk="0">
                <a:moveTo>
                  <a:pt x="540" y="7714"/>
                </a:moveTo>
                <a:lnTo>
                  <a:pt x="540" y="9257"/>
                </a:lnTo>
                <a:lnTo>
                  <a:pt x="2700" y="9257"/>
                </a:lnTo>
                <a:lnTo>
                  <a:pt x="2700" y="7714"/>
                </a:lnTo>
                <a:lnTo>
                  <a:pt x="540" y="7714"/>
                </a:lnTo>
                <a:close/>
              </a:path>
              <a:path w="21600" h="21600" extrusionOk="0">
                <a:moveTo>
                  <a:pt x="2700" y="7714"/>
                </a:moveTo>
                <a:lnTo>
                  <a:pt x="2700" y="9257"/>
                </a:lnTo>
                <a:lnTo>
                  <a:pt x="4860" y="9257"/>
                </a:lnTo>
                <a:lnTo>
                  <a:pt x="4860" y="7714"/>
                </a:lnTo>
                <a:lnTo>
                  <a:pt x="2700" y="7714"/>
                </a:lnTo>
                <a:close/>
              </a:path>
              <a:path w="21600" h="21600" extrusionOk="0">
                <a:moveTo>
                  <a:pt x="4860" y="7714"/>
                </a:moveTo>
                <a:lnTo>
                  <a:pt x="4860" y="9257"/>
                </a:lnTo>
                <a:lnTo>
                  <a:pt x="7020" y="9257"/>
                </a:lnTo>
                <a:lnTo>
                  <a:pt x="7020" y="7714"/>
                </a:lnTo>
                <a:lnTo>
                  <a:pt x="4860" y="7714"/>
                </a:lnTo>
                <a:close/>
              </a:path>
              <a:path w="21600" h="21600" extrusionOk="0">
                <a:moveTo>
                  <a:pt x="7020" y="7714"/>
                </a:moveTo>
                <a:lnTo>
                  <a:pt x="7020" y="9257"/>
                </a:lnTo>
                <a:lnTo>
                  <a:pt x="9180" y="9257"/>
                </a:lnTo>
                <a:lnTo>
                  <a:pt x="9180" y="7714"/>
                </a:lnTo>
                <a:lnTo>
                  <a:pt x="7020" y="7714"/>
                </a:lnTo>
                <a:close/>
              </a:path>
              <a:path w="21600" h="21600" extrusionOk="0">
                <a:moveTo>
                  <a:pt x="9180" y="7714"/>
                </a:moveTo>
                <a:lnTo>
                  <a:pt x="9180" y="9257"/>
                </a:lnTo>
                <a:lnTo>
                  <a:pt x="11340" y="9257"/>
                </a:lnTo>
                <a:lnTo>
                  <a:pt x="11340" y="7714"/>
                </a:lnTo>
                <a:lnTo>
                  <a:pt x="9180" y="7714"/>
                </a:lnTo>
                <a:close/>
              </a:path>
              <a:path w="21600" h="21600" extrusionOk="0">
                <a:moveTo>
                  <a:pt x="11340" y="7714"/>
                </a:moveTo>
                <a:lnTo>
                  <a:pt x="11340" y="9257"/>
                </a:lnTo>
                <a:lnTo>
                  <a:pt x="13500" y="9257"/>
                </a:lnTo>
                <a:lnTo>
                  <a:pt x="13500" y="7714"/>
                </a:lnTo>
                <a:lnTo>
                  <a:pt x="11340" y="7714"/>
                </a:lnTo>
                <a:close/>
              </a:path>
              <a:path w="21600" h="21600" extrusionOk="0">
                <a:moveTo>
                  <a:pt x="13500" y="7714"/>
                </a:moveTo>
                <a:lnTo>
                  <a:pt x="13500" y="9257"/>
                </a:lnTo>
                <a:lnTo>
                  <a:pt x="15660" y="9257"/>
                </a:lnTo>
                <a:lnTo>
                  <a:pt x="15660" y="7714"/>
                </a:lnTo>
                <a:lnTo>
                  <a:pt x="13500" y="7714"/>
                </a:lnTo>
                <a:close/>
              </a:path>
              <a:path w="21600" h="21600" extrusionOk="0">
                <a:moveTo>
                  <a:pt x="15660" y="7714"/>
                </a:moveTo>
                <a:lnTo>
                  <a:pt x="15660" y="9257"/>
                </a:lnTo>
                <a:lnTo>
                  <a:pt x="17820" y="9257"/>
                </a:lnTo>
                <a:lnTo>
                  <a:pt x="17820" y="7714"/>
                </a:lnTo>
                <a:lnTo>
                  <a:pt x="15660" y="7714"/>
                </a:lnTo>
                <a:close/>
              </a:path>
              <a:path w="21600" h="21600" extrusionOk="0">
                <a:moveTo>
                  <a:pt x="17820" y="7714"/>
                </a:moveTo>
                <a:lnTo>
                  <a:pt x="17820" y="9257"/>
                </a:lnTo>
                <a:lnTo>
                  <a:pt x="19980" y="9257"/>
                </a:lnTo>
                <a:lnTo>
                  <a:pt x="19980" y="7714"/>
                </a:lnTo>
                <a:lnTo>
                  <a:pt x="17820" y="7714"/>
                </a:lnTo>
                <a:close/>
              </a:path>
              <a:path w="21600" h="21600" extrusionOk="0">
                <a:moveTo>
                  <a:pt x="1620" y="9257"/>
                </a:moveTo>
                <a:lnTo>
                  <a:pt x="1620" y="10800"/>
                </a:lnTo>
                <a:lnTo>
                  <a:pt x="3779" y="10800"/>
                </a:lnTo>
                <a:lnTo>
                  <a:pt x="3779" y="9257"/>
                </a:lnTo>
                <a:lnTo>
                  <a:pt x="1620" y="9257"/>
                </a:lnTo>
                <a:close/>
              </a:path>
              <a:path w="21600" h="21600" extrusionOk="0">
                <a:moveTo>
                  <a:pt x="3779" y="9257"/>
                </a:moveTo>
                <a:lnTo>
                  <a:pt x="3779" y="10800"/>
                </a:lnTo>
                <a:lnTo>
                  <a:pt x="5940" y="10800"/>
                </a:lnTo>
                <a:lnTo>
                  <a:pt x="5940" y="9257"/>
                </a:lnTo>
                <a:lnTo>
                  <a:pt x="3779" y="9257"/>
                </a:lnTo>
                <a:close/>
              </a:path>
              <a:path w="21600" h="21600" extrusionOk="0">
                <a:moveTo>
                  <a:pt x="5940" y="9257"/>
                </a:moveTo>
                <a:lnTo>
                  <a:pt x="5940" y="10800"/>
                </a:lnTo>
                <a:lnTo>
                  <a:pt x="8100" y="10800"/>
                </a:lnTo>
                <a:lnTo>
                  <a:pt x="8100" y="9257"/>
                </a:lnTo>
                <a:lnTo>
                  <a:pt x="5940" y="9257"/>
                </a:lnTo>
                <a:close/>
              </a:path>
              <a:path w="21600" h="21600" extrusionOk="0">
                <a:moveTo>
                  <a:pt x="8100" y="9257"/>
                </a:moveTo>
                <a:lnTo>
                  <a:pt x="8100" y="10800"/>
                </a:lnTo>
                <a:lnTo>
                  <a:pt x="10260" y="10800"/>
                </a:lnTo>
                <a:lnTo>
                  <a:pt x="10260" y="9257"/>
                </a:lnTo>
                <a:lnTo>
                  <a:pt x="8100" y="9257"/>
                </a:lnTo>
                <a:close/>
              </a:path>
              <a:path w="21600" h="21600" extrusionOk="0">
                <a:moveTo>
                  <a:pt x="10260" y="9257"/>
                </a:moveTo>
                <a:lnTo>
                  <a:pt x="10260" y="10800"/>
                </a:lnTo>
                <a:lnTo>
                  <a:pt x="12419" y="10800"/>
                </a:lnTo>
                <a:lnTo>
                  <a:pt x="12419" y="9257"/>
                </a:lnTo>
                <a:lnTo>
                  <a:pt x="10260" y="9257"/>
                </a:lnTo>
                <a:close/>
              </a:path>
              <a:path w="21600" h="21600" extrusionOk="0">
                <a:moveTo>
                  <a:pt x="12419" y="9257"/>
                </a:moveTo>
                <a:lnTo>
                  <a:pt x="12419" y="10800"/>
                </a:lnTo>
                <a:lnTo>
                  <a:pt x="14580" y="10800"/>
                </a:lnTo>
                <a:lnTo>
                  <a:pt x="14580" y="9257"/>
                </a:lnTo>
                <a:lnTo>
                  <a:pt x="12419" y="9257"/>
                </a:lnTo>
                <a:close/>
              </a:path>
              <a:path w="21600" h="21600" extrusionOk="0">
                <a:moveTo>
                  <a:pt x="14580" y="9257"/>
                </a:moveTo>
                <a:lnTo>
                  <a:pt x="14580" y="10800"/>
                </a:lnTo>
                <a:lnTo>
                  <a:pt x="16740" y="10800"/>
                </a:lnTo>
                <a:lnTo>
                  <a:pt x="16740" y="9257"/>
                </a:lnTo>
                <a:lnTo>
                  <a:pt x="14580" y="9257"/>
                </a:lnTo>
                <a:close/>
              </a:path>
              <a:path w="21600" h="21600" extrusionOk="0">
                <a:moveTo>
                  <a:pt x="16740" y="9257"/>
                </a:moveTo>
                <a:lnTo>
                  <a:pt x="16740" y="10800"/>
                </a:lnTo>
                <a:lnTo>
                  <a:pt x="18900" y="10800"/>
                </a:lnTo>
                <a:lnTo>
                  <a:pt x="18900" y="9257"/>
                </a:lnTo>
                <a:lnTo>
                  <a:pt x="16740" y="9257"/>
                </a:lnTo>
                <a:close/>
              </a:path>
              <a:path w="21600" h="21600" extrusionOk="0">
                <a:moveTo>
                  <a:pt x="18900" y="9257"/>
                </a:moveTo>
                <a:lnTo>
                  <a:pt x="18900" y="10800"/>
                </a:lnTo>
                <a:lnTo>
                  <a:pt x="21060" y="10800"/>
                </a:lnTo>
                <a:lnTo>
                  <a:pt x="21060" y="9257"/>
                </a:lnTo>
                <a:lnTo>
                  <a:pt x="18900" y="9257"/>
                </a:lnTo>
                <a:close/>
              </a:path>
              <a:path w="21600" h="21600" extrusionOk="0">
                <a:moveTo>
                  <a:pt x="540" y="10800"/>
                </a:moveTo>
                <a:lnTo>
                  <a:pt x="540" y="12342"/>
                </a:lnTo>
                <a:lnTo>
                  <a:pt x="2700" y="12342"/>
                </a:lnTo>
                <a:lnTo>
                  <a:pt x="2700" y="10800"/>
                </a:lnTo>
                <a:lnTo>
                  <a:pt x="540" y="10800"/>
                </a:lnTo>
                <a:close/>
              </a:path>
              <a:path w="21600" h="21600" extrusionOk="0">
                <a:moveTo>
                  <a:pt x="2700" y="10800"/>
                </a:moveTo>
                <a:lnTo>
                  <a:pt x="2700" y="12342"/>
                </a:lnTo>
                <a:lnTo>
                  <a:pt x="4860" y="12342"/>
                </a:lnTo>
                <a:lnTo>
                  <a:pt x="4860" y="10800"/>
                </a:lnTo>
                <a:lnTo>
                  <a:pt x="2700" y="10800"/>
                </a:lnTo>
                <a:close/>
              </a:path>
              <a:path w="21600" h="21600" extrusionOk="0">
                <a:moveTo>
                  <a:pt x="4860" y="10800"/>
                </a:moveTo>
                <a:lnTo>
                  <a:pt x="4860" y="12342"/>
                </a:lnTo>
                <a:lnTo>
                  <a:pt x="7020" y="12342"/>
                </a:lnTo>
                <a:lnTo>
                  <a:pt x="7020" y="10800"/>
                </a:lnTo>
                <a:lnTo>
                  <a:pt x="4860" y="10800"/>
                </a:lnTo>
                <a:close/>
              </a:path>
              <a:path w="21600" h="21600" extrusionOk="0">
                <a:moveTo>
                  <a:pt x="7020" y="10800"/>
                </a:moveTo>
                <a:lnTo>
                  <a:pt x="7020" y="12342"/>
                </a:lnTo>
                <a:lnTo>
                  <a:pt x="9180" y="12342"/>
                </a:lnTo>
                <a:lnTo>
                  <a:pt x="9180" y="10800"/>
                </a:lnTo>
                <a:lnTo>
                  <a:pt x="7020" y="10800"/>
                </a:lnTo>
                <a:close/>
              </a:path>
              <a:path w="21600" h="21600" extrusionOk="0">
                <a:moveTo>
                  <a:pt x="9180" y="10800"/>
                </a:moveTo>
                <a:lnTo>
                  <a:pt x="9180" y="12342"/>
                </a:lnTo>
                <a:lnTo>
                  <a:pt x="11340" y="12342"/>
                </a:lnTo>
                <a:lnTo>
                  <a:pt x="11340" y="10800"/>
                </a:lnTo>
                <a:lnTo>
                  <a:pt x="9180" y="10800"/>
                </a:lnTo>
                <a:close/>
              </a:path>
              <a:path w="21600" h="21600" extrusionOk="0">
                <a:moveTo>
                  <a:pt x="11340" y="10800"/>
                </a:moveTo>
                <a:lnTo>
                  <a:pt x="11340" y="12342"/>
                </a:lnTo>
                <a:lnTo>
                  <a:pt x="13500" y="12342"/>
                </a:lnTo>
                <a:lnTo>
                  <a:pt x="13500" y="10800"/>
                </a:lnTo>
                <a:lnTo>
                  <a:pt x="11340" y="10800"/>
                </a:lnTo>
                <a:close/>
              </a:path>
              <a:path w="21600" h="21600" extrusionOk="0">
                <a:moveTo>
                  <a:pt x="13500" y="10800"/>
                </a:moveTo>
                <a:lnTo>
                  <a:pt x="13500" y="12342"/>
                </a:lnTo>
                <a:lnTo>
                  <a:pt x="15660" y="12342"/>
                </a:lnTo>
                <a:lnTo>
                  <a:pt x="15660" y="10800"/>
                </a:lnTo>
                <a:lnTo>
                  <a:pt x="13500" y="10800"/>
                </a:lnTo>
                <a:close/>
              </a:path>
              <a:path w="21600" h="21600" extrusionOk="0">
                <a:moveTo>
                  <a:pt x="15660" y="10800"/>
                </a:moveTo>
                <a:lnTo>
                  <a:pt x="15660" y="12342"/>
                </a:lnTo>
                <a:lnTo>
                  <a:pt x="17820" y="12342"/>
                </a:lnTo>
                <a:lnTo>
                  <a:pt x="17820" y="10800"/>
                </a:lnTo>
                <a:lnTo>
                  <a:pt x="15660" y="10800"/>
                </a:lnTo>
                <a:close/>
              </a:path>
              <a:path w="21600" h="21600" extrusionOk="0">
                <a:moveTo>
                  <a:pt x="17820" y="10800"/>
                </a:moveTo>
                <a:lnTo>
                  <a:pt x="17820" y="12342"/>
                </a:lnTo>
                <a:lnTo>
                  <a:pt x="19980" y="12342"/>
                </a:lnTo>
                <a:lnTo>
                  <a:pt x="19980" y="10800"/>
                </a:lnTo>
                <a:lnTo>
                  <a:pt x="17820" y="10800"/>
                </a:lnTo>
                <a:close/>
              </a:path>
              <a:path w="21600" h="21600" extrusionOk="0">
                <a:moveTo>
                  <a:pt x="1620" y="12342"/>
                </a:moveTo>
                <a:lnTo>
                  <a:pt x="1620" y="13885"/>
                </a:lnTo>
                <a:lnTo>
                  <a:pt x="3779" y="13885"/>
                </a:lnTo>
                <a:lnTo>
                  <a:pt x="3779" y="12342"/>
                </a:lnTo>
                <a:lnTo>
                  <a:pt x="1620" y="12342"/>
                </a:lnTo>
                <a:close/>
              </a:path>
              <a:path w="21600" h="21600" extrusionOk="0">
                <a:moveTo>
                  <a:pt x="3779" y="12342"/>
                </a:moveTo>
                <a:lnTo>
                  <a:pt x="3779" y="13885"/>
                </a:lnTo>
                <a:lnTo>
                  <a:pt x="5940" y="13885"/>
                </a:lnTo>
                <a:lnTo>
                  <a:pt x="5940" y="12342"/>
                </a:lnTo>
                <a:lnTo>
                  <a:pt x="3779" y="12342"/>
                </a:lnTo>
                <a:close/>
              </a:path>
              <a:path w="21600" h="21600" extrusionOk="0">
                <a:moveTo>
                  <a:pt x="5940" y="12342"/>
                </a:moveTo>
                <a:lnTo>
                  <a:pt x="5940" y="13885"/>
                </a:lnTo>
                <a:lnTo>
                  <a:pt x="8100" y="13885"/>
                </a:lnTo>
                <a:lnTo>
                  <a:pt x="8100" y="12342"/>
                </a:lnTo>
                <a:lnTo>
                  <a:pt x="5940" y="12342"/>
                </a:lnTo>
                <a:close/>
              </a:path>
              <a:path w="21600" h="21600" extrusionOk="0">
                <a:moveTo>
                  <a:pt x="8100" y="12342"/>
                </a:moveTo>
                <a:lnTo>
                  <a:pt x="8100" y="13885"/>
                </a:lnTo>
                <a:lnTo>
                  <a:pt x="10260" y="13885"/>
                </a:lnTo>
                <a:lnTo>
                  <a:pt x="10260" y="12342"/>
                </a:lnTo>
                <a:lnTo>
                  <a:pt x="8100" y="12342"/>
                </a:lnTo>
                <a:close/>
              </a:path>
              <a:path w="21600" h="21600" extrusionOk="0">
                <a:moveTo>
                  <a:pt x="10260" y="12342"/>
                </a:moveTo>
                <a:lnTo>
                  <a:pt x="10260" y="13885"/>
                </a:lnTo>
                <a:lnTo>
                  <a:pt x="12419" y="13885"/>
                </a:lnTo>
                <a:lnTo>
                  <a:pt x="12419" y="12342"/>
                </a:lnTo>
                <a:lnTo>
                  <a:pt x="10260" y="12342"/>
                </a:lnTo>
                <a:close/>
              </a:path>
              <a:path w="21600" h="21600" extrusionOk="0">
                <a:moveTo>
                  <a:pt x="12419" y="12342"/>
                </a:moveTo>
                <a:lnTo>
                  <a:pt x="12419" y="13885"/>
                </a:lnTo>
                <a:lnTo>
                  <a:pt x="14580" y="13885"/>
                </a:lnTo>
                <a:lnTo>
                  <a:pt x="14580" y="12342"/>
                </a:lnTo>
                <a:lnTo>
                  <a:pt x="12419" y="12342"/>
                </a:lnTo>
                <a:close/>
              </a:path>
              <a:path w="21600" h="21600" extrusionOk="0">
                <a:moveTo>
                  <a:pt x="14580" y="12342"/>
                </a:moveTo>
                <a:lnTo>
                  <a:pt x="14580" y="13885"/>
                </a:lnTo>
                <a:lnTo>
                  <a:pt x="16740" y="13885"/>
                </a:lnTo>
                <a:lnTo>
                  <a:pt x="16740" y="12342"/>
                </a:lnTo>
                <a:lnTo>
                  <a:pt x="14580" y="12342"/>
                </a:lnTo>
                <a:close/>
              </a:path>
              <a:path w="21600" h="21600" extrusionOk="0">
                <a:moveTo>
                  <a:pt x="16740" y="12342"/>
                </a:moveTo>
                <a:lnTo>
                  <a:pt x="16740" y="13885"/>
                </a:lnTo>
                <a:lnTo>
                  <a:pt x="18900" y="13885"/>
                </a:lnTo>
                <a:lnTo>
                  <a:pt x="18900" y="12342"/>
                </a:lnTo>
                <a:lnTo>
                  <a:pt x="16740" y="12342"/>
                </a:lnTo>
                <a:close/>
              </a:path>
              <a:path w="21600" h="21600" extrusionOk="0">
                <a:moveTo>
                  <a:pt x="18900" y="12342"/>
                </a:moveTo>
                <a:lnTo>
                  <a:pt x="18900" y="13885"/>
                </a:lnTo>
                <a:lnTo>
                  <a:pt x="21060" y="13885"/>
                </a:lnTo>
                <a:lnTo>
                  <a:pt x="21060" y="12342"/>
                </a:lnTo>
                <a:lnTo>
                  <a:pt x="18900" y="12342"/>
                </a:lnTo>
                <a:close/>
              </a:path>
              <a:path w="21600" h="21600" extrusionOk="0">
                <a:moveTo>
                  <a:pt x="540" y="13885"/>
                </a:moveTo>
                <a:lnTo>
                  <a:pt x="540" y="15428"/>
                </a:lnTo>
                <a:lnTo>
                  <a:pt x="2700" y="15428"/>
                </a:lnTo>
                <a:lnTo>
                  <a:pt x="2700" y="13885"/>
                </a:lnTo>
                <a:lnTo>
                  <a:pt x="540" y="13885"/>
                </a:lnTo>
                <a:close/>
              </a:path>
              <a:path w="21600" h="21600" extrusionOk="0">
                <a:moveTo>
                  <a:pt x="2700" y="13885"/>
                </a:moveTo>
                <a:lnTo>
                  <a:pt x="2700" y="15428"/>
                </a:lnTo>
                <a:lnTo>
                  <a:pt x="4860" y="15428"/>
                </a:lnTo>
                <a:lnTo>
                  <a:pt x="4860" y="13885"/>
                </a:lnTo>
                <a:lnTo>
                  <a:pt x="2700" y="13885"/>
                </a:lnTo>
                <a:close/>
              </a:path>
              <a:path w="21600" h="21600" extrusionOk="0">
                <a:moveTo>
                  <a:pt x="4860" y="13885"/>
                </a:moveTo>
                <a:lnTo>
                  <a:pt x="4860" y="15428"/>
                </a:lnTo>
                <a:lnTo>
                  <a:pt x="7020" y="15428"/>
                </a:lnTo>
                <a:lnTo>
                  <a:pt x="7020" y="13885"/>
                </a:lnTo>
                <a:lnTo>
                  <a:pt x="4860" y="13885"/>
                </a:lnTo>
                <a:close/>
              </a:path>
              <a:path w="21600" h="21600" extrusionOk="0">
                <a:moveTo>
                  <a:pt x="7020" y="13885"/>
                </a:moveTo>
                <a:lnTo>
                  <a:pt x="7020" y="15428"/>
                </a:lnTo>
                <a:lnTo>
                  <a:pt x="9180" y="15428"/>
                </a:lnTo>
                <a:lnTo>
                  <a:pt x="9180" y="13885"/>
                </a:lnTo>
                <a:lnTo>
                  <a:pt x="7020" y="13885"/>
                </a:lnTo>
                <a:close/>
              </a:path>
              <a:path w="21600" h="21600" extrusionOk="0">
                <a:moveTo>
                  <a:pt x="9180" y="13885"/>
                </a:moveTo>
                <a:lnTo>
                  <a:pt x="9180" y="15428"/>
                </a:lnTo>
                <a:lnTo>
                  <a:pt x="11340" y="15428"/>
                </a:lnTo>
                <a:lnTo>
                  <a:pt x="11340" y="13885"/>
                </a:lnTo>
                <a:lnTo>
                  <a:pt x="9180" y="13885"/>
                </a:lnTo>
                <a:close/>
              </a:path>
              <a:path w="21600" h="21600" extrusionOk="0">
                <a:moveTo>
                  <a:pt x="11340" y="13885"/>
                </a:moveTo>
                <a:lnTo>
                  <a:pt x="11340" y="15428"/>
                </a:lnTo>
                <a:lnTo>
                  <a:pt x="13500" y="15428"/>
                </a:lnTo>
                <a:lnTo>
                  <a:pt x="13500" y="13885"/>
                </a:lnTo>
                <a:lnTo>
                  <a:pt x="11340" y="13885"/>
                </a:lnTo>
                <a:close/>
              </a:path>
              <a:path w="21600" h="21600" extrusionOk="0">
                <a:moveTo>
                  <a:pt x="13500" y="13885"/>
                </a:moveTo>
                <a:lnTo>
                  <a:pt x="13500" y="15428"/>
                </a:lnTo>
                <a:lnTo>
                  <a:pt x="15660" y="15428"/>
                </a:lnTo>
                <a:lnTo>
                  <a:pt x="15660" y="13885"/>
                </a:lnTo>
                <a:lnTo>
                  <a:pt x="13500" y="13885"/>
                </a:lnTo>
                <a:close/>
              </a:path>
              <a:path w="21600" h="21600" extrusionOk="0">
                <a:moveTo>
                  <a:pt x="15660" y="13885"/>
                </a:moveTo>
                <a:lnTo>
                  <a:pt x="15660" y="15428"/>
                </a:lnTo>
                <a:lnTo>
                  <a:pt x="17820" y="15428"/>
                </a:lnTo>
                <a:lnTo>
                  <a:pt x="17820" y="13885"/>
                </a:lnTo>
                <a:lnTo>
                  <a:pt x="15660" y="13885"/>
                </a:lnTo>
                <a:close/>
              </a:path>
              <a:path w="21600" h="21600" extrusionOk="0">
                <a:moveTo>
                  <a:pt x="17820" y="13885"/>
                </a:moveTo>
                <a:lnTo>
                  <a:pt x="17820" y="15428"/>
                </a:lnTo>
                <a:lnTo>
                  <a:pt x="19980" y="15428"/>
                </a:lnTo>
                <a:lnTo>
                  <a:pt x="19980" y="13885"/>
                </a:lnTo>
                <a:lnTo>
                  <a:pt x="17820" y="13885"/>
                </a:lnTo>
                <a:close/>
              </a:path>
              <a:path w="21600" h="21600" extrusionOk="0">
                <a:moveTo>
                  <a:pt x="1620" y="15428"/>
                </a:moveTo>
                <a:lnTo>
                  <a:pt x="1620" y="16971"/>
                </a:lnTo>
                <a:lnTo>
                  <a:pt x="3779" y="16971"/>
                </a:lnTo>
                <a:lnTo>
                  <a:pt x="3779" y="15428"/>
                </a:lnTo>
                <a:lnTo>
                  <a:pt x="1620" y="15428"/>
                </a:lnTo>
                <a:close/>
              </a:path>
              <a:path w="21600" h="21600" extrusionOk="0">
                <a:moveTo>
                  <a:pt x="3779" y="15428"/>
                </a:moveTo>
                <a:lnTo>
                  <a:pt x="3779" y="16971"/>
                </a:lnTo>
                <a:lnTo>
                  <a:pt x="5940" y="16971"/>
                </a:lnTo>
                <a:lnTo>
                  <a:pt x="5940" y="15428"/>
                </a:lnTo>
                <a:lnTo>
                  <a:pt x="3779" y="15428"/>
                </a:lnTo>
                <a:close/>
              </a:path>
              <a:path w="21600" h="21600" extrusionOk="0">
                <a:moveTo>
                  <a:pt x="5940" y="15428"/>
                </a:moveTo>
                <a:lnTo>
                  <a:pt x="5940" y="16971"/>
                </a:lnTo>
                <a:lnTo>
                  <a:pt x="8100" y="16971"/>
                </a:lnTo>
                <a:lnTo>
                  <a:pt x="8100" y="15428"/>
                </a:lnTo>
                <a:lnTo>
                  <a:pt x="5940" y="15428"/>
                </a:lnTo>
                <a:close/>
              </a:path>
              <a:path w="21600" h="21600" extrusionOk="0">
                <a:moveTo>
                  <a:pt x="8100" y="15428"/>
                </a:moveTo>
                <a:lnTo>
                  <a:pt x="8100" y="16971"/>
                </a:lnTo>
                <a:lnTo>
                  <a:pt x="10260" y="16971"/>
                </a:lnTo>
                <a:lnTo>
                  <a:pt x="10260" y="15428"/>
                </a:lnTo>
                <a:lnTo>
                  <a:pt x="8100" y="15428"/>
                </a:lnTo>
                <a:close/>
              </a:path>
              <a:path w="21600" h="21600" extrusionOk="0">
                <a:moveTo>
                  <a:pt x="10260" y="15428"/>
                </a:moveTo>
                <a:lnTo>
                  <a:pt x="10260" y="16971"/>
                </a:lnTo>
                <a:lnTo>
                  <a:pt x="12419" y="16971"/>
                </a:lnTo>
                <a:lnTo>
                  <a:pt x="12419" y="15428"/>
                </a:lnTo>
                <a:lnTo>
                  <a:pt x="10260" y="15428"/>
                </a:lnTo>
                <a:close/>
              </a:path>
              <a:path w="21600" h="21600" extrusionOk="0">
                <a:moveTo>
                  <a:pt x="12419" y="15428"/>
                </a:moveTo>
                <a:lnTo>
                  <a:pt x="12419" y="16971"/>
                </a:lnTo>
                <a:lnTo>
                  <a:pt x="14580" y="16971"/>
                </a:lnTo>
                <a:lnTo>
                  <a:pt x="14580" y="15428"/>
                </a:lnTo>
                <a:lnTo>
                  <a:pt x="12419" y="15428"/>
                </a:lnTo>
                <a:close/>
              </a:path>
              <a:path w="21600" h="21600" extrusionOk="0">
                <a:moveTo>
                  <a:pt x="14580" y="15428"/>
                </a:moveTo>
                <a:lnTo>
                  <a:pt x="14580" y="16971"/>
                </a:lnTo>
                <a:lnTo>
                  <a:pt x="16740" y="16971"/>
                </a:lnTo>
                <a:lnTo>
                  <a:pt x="16740" y="15428"/>
                </a:lnTo>
                <a:lnTo>
                  <a:pt x="14580" y="15428"/>
                </a:lnTo>
                <a:close/>
              </a:path>
              <a:path w="21600" h="21600" extrusionOk="0">
                <a:moveTo>
                  <a:pt x="16740" y="15428"/>
                </a:moveTo>
                <a:lnTo>
                  <a:pt x="16740" y="16971"/>
                </a:lnTo>
                <a:lnTo>
                  <a:pt x="18900" y="16971"/>
                </a:lnTo>
                <a:lnTo>
                  <a:pt x="18900" y="15428"/>
                </a:lnTo>
                <a:lnTo>
                  <a:pt x="16740" y="15428"/>
                </a:lnTo>
                <a:close/>
              </a:path>
              <a:path w="21600" h="21600" extrusionOk="0">
                <a:moveTo>
                  <a:pt x="18900" y="15428"/>
                </a:moveTo>
                <a:lnTo>
                  <a:pt x="18900" y="16971"/>
                </a:lnTo>
                <a:lnTo>
                  <a:pt x="21060" y="16971"/>
                </a:lnTo>
                <a:lnTo>
                  <a:pt x="21060" y="15428"/>
                </a:lnTo>
                <a:lnTo>
                  <a:pt x="18900" y="15428"/>
                </a:lnTo>
                <a:close/>
              </a:path>
              <a:path w="21600" h="21600" extrusionOk="0">
                <a:moveTo>
                  <a:pt x="540" y="16971"/>
                </a:moveTo>
                <a:lnTo>
                  <a:pt x="540" y="18514"/>
                </a:lnTo>
                <a:lnTo>
                  <a:pt x="2700" y="18514"/>
                </a:lnTo>
                <a:lnTo>
                  <a:pt x="2700" y="16971"/>
                </a:lnTo>
                <a:lnTo>
                  <a:pt x="540" y="16971"/>
                </a:lnTo>
                <a:close/>
              </a:path>
              <a:path w="21600" h="21600" extrusionOk="0">
                <a:moveTo>
                  <a:pt x="2700" y="16971"/>
                </a:moveTo>
                <a:lnTo>
                  <a:pt x="2700" y="18514"/>
                </a:lnTo>
                <a:lnTo>
                  <a:pt x="4860" y="18514"/>
                </a:lnTo>
                <a:lnTo>
                  <a:pt x="4860" y="16971"/>
                </a:lnTo>
                <a:lnTo>
                  <a:pt x="2700" y="16971"/>
                </a:lnTo>
                <a:close/>
              </a:path>
              <a:path w="21600" h="21600" extrusionOk="0">
                <a:moveTo>
                  <a:pt x="4860" y="16971"/>
                </a:moveTo>
                <a:lnTo>
                  <a:pt x="4860" y="18514"/>
                </a:lnTo>
                <a:lnTo>
                  <a:pt x="7020" y="18514"/>
                </a:lnTo>
                <a:lnTo>
                  <a:pt x="7020" y="16971"/>
                </a:lnTo>
                <a:lnTo>
                  <a:pt x="4860" y="16971"/>
                </a:lnTo>
                <a:close/>
              </a:path>
              <a:path w="21600" h="21600" extrusionOk="0">
                <a:moveTo>
                  <a:pt x="7020" y="16971"/>
                </a:moveTo>
                <a:lnTo>
                  <a:pt x="7020" y="18514"/>
                </a:lnTo>
                <a:lnTo>
                  <a:pt x="9180" y="18514"/>
                </a:lnTo>
                <a:lnTo>
                  <a:pt x="9180" y="16971"/>
                </a:lnTo>
                <a:lnTo>
                  <a:pt x="7020" y="16971"/>
                </a:lnTo>
                <a:close/>
              </a:path>
              <a:path w="21600" h="21600" extrusionOk="0">
                <a:moveTo>
                  <a:pt x="9180" y="16971"/>
                </a:moveTo>
                <a:lnTo>
                  <a:pt x="9180" y="18514"/>
                </a:lnTo>
                <a:lnTo>
                  <a:pt x="11340" y="18514"/>
                </a:lnTo>
                <a:lnTo>
                  <a:pt x="11340" y="16971"/>
                </a:lnTo>
                <a:lnTo>
                  <a:pt x="9180" y="16971"/>
                </a:lnTo>
                <a:close/>
              </a:path>
              <a:path w="21600" h="21600" extrusionOk="0">
                <a:moveTo>
                  <a:pt x="11340" y="16971"/>
                </a:moveTo>
                <a:lnTo>
                  <a:pt x="11340" y="18514"/>
                </a:lnTo>
                <a:lnTo>
                  <a:pt x="13500" y="18514"/>
                </a:lnTo>
                <a:lnTo>
                  <a:pt x="13500" y="16971"/>
                </a:lnTo>
                <a:lnTo>
                  <a:pt x="11340" y="16971"/>
                </a:lnTo>
                <a:close/>
              </a:path>
              <a:path w="21600" h="21600" extrusionOk="0">
                <a:moveTo>
                  <a:pt x="13500" y="16971"/>
                </a:moveTo>
                <a:lnTo>
                  <a:pt x="13500" y="18514"/>
                </a:lnTo>
                <a:lnTo>
                  <a:pt x="15660" y="18514"/>
                </a:lnTo>
                <a:lnTo>
                  <a:pt x="15660" y="16971"/>
                </a:lnTo>
                <a:lnTo>
                  <a:pt x="13500" y="16971"/>
                </a:lnTo>
                <a:close/>
              </a:path>
              <a:path w="21600" h="21600" extrusionOk="0">
                <a:moveTo>
                  <a:pt x="15660" y="16971"/>
                </a:moveTo>
                <a:lnTo>
                  <a:pt x="15660" y="18514"/>
                </a:lnTo>
                <a:lnTo>
                  <a:pt x="17820" y="18514"/>
                </a:lnTo>
                <a:lnTo>
                  <a:pt x="17820" y="16971"/>
                </a:lnTo>
                <a:lnTo>
                  <a:pt x="15660" y="16971"/>
                </a:lnTo>
                <a:close/>
              </a:path>
              <a:path w="21600" h="21600" extrusionOk="0">
                <a:moveTo>
                  <a:pt x="17820" y="16971"/>
                </a:moveTo>
                <a:lnTo>
                  <a:pt x="17820" y="18514"/>
                </a:lnTo>
                <a:lnTo>
                  <a:pt x="19980" y="18514"/>
                </a:lnTo>
                <a:lnTo>
                  <a:pt x="19980" y="16971"/>
                </a:lnTo>
                <a:lnTo>
                  <a:pt x="17820" y="16971"/>
                </a:lnTo>
                <a:close/>
              </a:path>
              <a:path w="21600" h="21600" extrusionOk="0">
                <a:moveTo>
                  <a:pt x="1620" y="18514"/>
                </a:moveTo>
                <a:lnTo>
                  <a:pt x="1620" y="20057"/>
                </a:lnTo>
                <a:lnTo>
                  <a:pt x="3779" y="20057"/>
                </a:lnTo>
                <a:lnTo>
                  <a:pt x="3779" y="18514"/>
                </a:lnTo>
                <a:lnTo>
                  <a:pt x="1620" y="18514"/>
                </a:lnTo>
                <a:close/>
              </a:path>
              <a:path w="21600" h="21600" extrusionOk="0">
                <a:moveTo>
                  <a:pt x="3779" y="18514"/>
                </a:moveTo>
                <a:lnTo>
                  <a:pt x="3779" y="20057"/>
                </a:lnTo>
                <a:lnTo>
                  <a:pt x="5940" y="20057"/>
                </a:lnTo>
                <a:lnTo>
                  <a:pt x="5940" y="18514"/>
                </a:lnTo>
                <a:lnTo>
                  <a:pt x="3779" y="18514"/>
                </a:lnTo>
                <a:close/>
              </a:path>
              <a:path w="21600" h="21600" extrusionOk="0">
                <a:moveTo>
                  <a:pt x="5940" y="18514"/>
                </a:moveTo>
                <a:lnTo>
                  <a:pt x="5940" y="20057"/>
                </a:lnTo>
                <a:lnTo>
                  <a:pt x="8100" y="20057"/>
                </a:lnTo>
                <a:lnTo>
                  <a:pt x="8100" y="18514"/>
                </a:lnTo>
                <a:lnTo>
                  <a:pt x="5940" y="18514"/>
                </a:lnTo>
                <a:close/>
              </a:path>
              <a:path w="21600" h="21600" extrusionOk="0">
                <a:moveTo>
                  <a:pt x="8100" y="18514"/>
                </a:moveTo>
                <a:lnTo>
                  <a:pt x="8100" y="20057"/>
                </a:lnTo>
                <a:lnTo>
                  <a:pt x="10260" y="20057"/>
                </a:lnTo>
                <a:lnTo>
                  <a:pt x="10260" y="18514"/>
                </a:lnTo>
                <a:lnTo>
                  <a:pt x="8100" y="18514"/>
                </a:lnTo>
                <a:close/>
              </a:path>
              <a:path w="21600" h="21600" extrusionOk="0">
                <a:moveTo>
                  <a:pt x="10260" y="18514"/>
                </a:moveTo>
                <a:lnTo>
                  <a:pt x="10260" y="20057"/>
                </a:lnTo>
                <a:lnTo>
                  <a:pt x="12419" y="20057"/>
                </a:lnTo>
                <a:lnTo>
                  <a:pt x="12419" y="18514"/>
                </a:lnTo>
                <a:lnTo>
                  <a:pt x="10260" y="18514"/>
                </a:lnTo>
                <a:close/>
              </a:path>
              <a:path w="21600" h="21600" extrusionOk="0">
                <a:moveTo>
                  <a:pt x="12419" y="18514"/>
                </a:moveTo>
                <a:lnTo>
                  <a:pt x="12419" y="20057"/>
                </a:lnTo>
                <a:lnTo>
                  <a:pt x="14580" y="20057"/>
                </a:lnTo>
                <a:lnTo>
                  <a:pt x="14580" y="18514"/>
                </a:lnTo>
                <a:lnTo>
                  <a:pt x="12419" y="18514"/>
                </a:lnTo>
                <a:close/>
              </a:path>
              <a:path w="21600" h="21600" extrusionOk="0">
                <a:moveTo>
                  <a:pt x="14580" y="18514"/>
                </a:moveTo>
                <a:lnTo>
                  <a:pt x="14580" y="20057"/>
                </a:lnTo>
                <a:lnTo>
                  <a:pt x="16740" y="20057"/>
                </a:lnTo>
                <a:lnTo>
                  <a:pt x="16740" y="18514"/>
                </a:lnTo>
                <a:lnTo>
                  <a:pt x="14580" y="18514"/>
                </a:lnTo>
                <a:close/>
              </a:path>
              <a:path w="21600" h="21600" extrusionOk="0">
                <a:moveTo>
                  <a:pt x="16740" y="18514"/>
                </a:moveTo>
                <a:lnTo>
                  <a:pt x="16740" y="20057"/>
                </a:lnTo>
                <a:lnTo>
                  <a:pt x="18900" y="20057"/>
                </a:lnTo>
                <a:lnTo>
                  <a:pt x="18900" y="18514"/>
                </a:lnTo>
                <a:lnTo>
                  <a:pt x="16740" y="18514"/>
                </a:lnTo>
                <a:close/>
              </a:path>
              <a:path w="21600" h="21600" extrusionOk="0">
                <a:moveTo>
                  <a:pt x="18900" y="18514"/>
                </a:moveTo>
                <a:lnTo>
                  <a:pt x="18900" y="20057"/>
                </a:lnTo>
                <a:lnTo>
                  <a:pt x="21060" y="20057"/>
                </a:lnTo>
                <a:lnTo>
                  <a:pt x="21060" y="18514"/>
                </a:lnTo>
                <a:lnTo>
                  <a:pt x="18900" y="18514"/>
                </a:lnTo>
                <a:close/>
              </a:path>
              <a:path w="21600" h="21600" extrusionOk="0">
                <a:moveTo>
                  <a:pt x="540" y="20057"/>
                </a:moveTo>
                <a:lnTo>
                  <a:pt x="540" y="21600"/>
                </a:lnTo>
                <a:lnTo>
                  <a:pt x="2700" y="21600"/>
                </a:lnTo>
                <a:lnTo>
                  <a:pt x="2700" y="20057"/>
                </a:lnTo>
                <a:lnTo>
                  <a:pt x="540" y="20057"/>
                </a:lnTo>
                <a:close/>
              </a:path>
              <a:path w="21600" h="21600" extrusionOk="0">
                <a:moveTo>
                  <a:pt x="2700" y="20057"/>
                </a:moveTo>
                <a:lnTo>
                  <a:pt x="2700" y="21600"/>
                </a:lnTo>
                <a:lnTo>
                  <a:pt x="4860" y="21600"/>
                </a:lnTo>
                <a:lnTo>
                  <a:pt x="4860" y="20057"/>
                </a:lnTo>
                <a:lnTo>
                  <a:pt x="2700" y="20057"/>
                </a:lnTo>
                <a:close/>
              </a:path>
              <a:path w="21600" h="21600" extrusionOk="0">
                <a:moveTo>
                  <a:pt x="4860" y="20057"/>
                </a:moveTo>
                <a:lnTo>
                  <a:pt x="4860" y="21600"/>
                </a:lnTo>
                <a:lnTo>
                  <a:pt x="7020" y="21600"/>
                </a:lnTo>
                <a:lnTo>
                  <a:pt x="7020" y="20057"/>
                </a:lnTo>
                <a:lnTo>
                  <a:pt x="4860" y="20057"/>
                </a:lnTo>
                <a:close/>
              </a:path>
              <a:path w="21600" h="21600" extrusionOk="0">
                <a:moveTo>
                  <a:pt x="7020" y="20057"/>
                </a:moveTo>
                <a:lnTo>
                  <a:pt x="7020" y="21600"/>
                </a:lnTo>
                <a:lnTo>
                  <a:pt x="9180" y="21600"/>
                </a:lnTo>
                <a:lnTo>
                  <a:pt x="9180" y="20057"/>
                </a:lnTo>
                <a:lnTo>
                  <a:pt x="7020" y="20057"/>
                </a:lnTo>
                <a:close/>
              </a:path>
              <a:path w="21600" h="21600" extrusionOk="0">
                <a:moveTo>
                  <a:pt x="9180" y="20057"/>
                </a:moveTo>
                <a:lnTo>
                  <a:pt x="9180" y="21600"/>
                </a:lnTo>
                <a:lnTo>
                  <a:pt x="11340" y="21600"/>
                </a:lnTo>
                <a:lnTo>
                  <a:pt x="11340" y="20057"/>
                </a:lnTo>
                <a:lnTo>
                  <a:pt x="9180" y="20057"/>
                </a:lnTo>
                <a:close/>
              </a:path>
              <a:path w="21600" h="21600" extrusionOk="0">
                <a:moveTo>
                  <a:pt x="11340" y="20057"/>
                </a:moveTo>
                <a:lnTo>
                  <a:pt x="11340" y="21600"/>
                </a:lnTo>
                <a:lnTo>
                  <a:pt x="13500" y="21600"/>
                </a:lnTo>
                <a:lnTo>
                  <a:pt x="13500" y="20057"/>
                </a:lnTo>
                <a:lnTo>
                  <a:pt x="11340" y="20057"/>
                </a:lnTo>
                <a:close/>
              </a:path>
              <a:path w="21600" h="21600" extrusionOk="0">
                <a:moveTo>
                  <a:pt x="13500" y="20057"/>
                </a:moveTo>
                <a:lnTo>
                  <a:pt x="13500" y="21600"/>
                </a:lnTo>
                <a:lnTo>
                  <a:pt x="15660" y="21600"/>
                </a:lnTo>
                <a:lnTo>
                  <a:pt x="15660" y="20057"/>
                </a:lnTo>
                <a:lnTo>
                  <a:pt x="13500" y="20057"/>
                </a:lnTo>
                <a:close/>
              </a:path>
              <a:path w="21600" h="21600" extrusionOk="0">
                <a:moveTo>
                  <a:pt x="15660" y="20057"/>
                </a:moveTo>
                <a:lnTo>
                  <a:pt x="15660" y="21600"/>
                </a:lnTo>
                <a:lnTo>
                  <a:pt x="17820" y="21600"/>
                </a:lnTo>
                <a:lnTo>
                  <a:pt x="17820" y="20057"/>
                </a:lnTo>
                <a:lnTo>
                  <a:pt x="15660" y="20057"/>
                </a:lnTo>
                <a:close/>
              </a:path>
              <a:path w="21600" h="21600" extrusionOk="0">
                <a:moveTo>
                  <a:pt x="17820" y="20057"/>
                </a:moveTo>
                <a:lnTo>
                  <a:pt x="17820" y="21600"/>
                </a:lnTo>
                <a:lnTo>
                  <a:pt x="19980" y="21600"/>
                </a:lnTo>
                <a:lnTo>
                  <a:pt x="19980" y="20057"/>
                </a:lnTo>
                <a:lnTo>
                  <a:pt x="17820" y="20057"/>
                </a:lnTo>
                <a:close/>
              </a:path>
              <a:path w="21600" h="21600" extrusionOk="0">
                <a:moveTo>
                  <a:pt x="19980" y="4628"/>
                </a:moveTo>
                <a:lnTo>
                  <a:pt x="21060" y="4628"/>
                </a:lnTo>
                <a:lnTo>
                  <a:pt x="21060" y="6171"/>
                </a:lnTo>
                <a:lnTo>
                  <a:pt x="19980" y="6171"/>
                </a:lnTo>
                <a:lnTo>
                  <a:pt x="19980" y="4628"/>
                </a:lnTo>
                <a:close/>
              </a:path>
            </a:pathLst>
          </a:custGeom>
          <a:solidFill>
            <a:srgbClr val="996633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  <p:sp>
        <p:nvSpPr>
          <p:cNvPr id="10" name="Textfeld 9"/>
          <p:cNvSpPr txBox="1"/>
          <p:nvPr/>
        </p:nvSpPr>
        <p:spPr>
          <a:xfrm>
            <a:off x="5833198" y="1963012"/>
            <a:ext cx="110799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000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</a:t>
            </a:r>
            <a:r>
              <a:rPr lang="de-DE" sz="1200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nsings</a:t>
            </a:r>
            <a:endParaRPr lang="de-DE" sz="27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51118" y="3032798"/>
            <a:ext cx="616844" cy="925157"/>
          </a:xfrm>
          <a:prstGeom prst="rect">
            <a:avLst/>
          </a:prstGeom>
          <a:noFill/>
        </p:spPr>
      </p:pic>
      <p:sp>
        <p:nvSpPr>
          <p:cNvPr id="17" name="Textfeld 16"/>
          <p:cNvSpPr txBox="1"/>
          <p:nvPr/>
        </p:nvSpPr>
        <p:spPr>
          <a:xfrm>
            <a:off x="2527779" y="3268958"/>
            <a:ext cx="87876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00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</a:t>
            </a:r>
            <a:r>
              <a:rPr lang="de-DE" sz="120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apers</a:t>
            </a:r>
            <a:endParaRPr lang="de-DE" sz="27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62" name="Picture 1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9622" y="3120307"/>
            <a:ext cx="847165" cy="705971"/>
          </a:xfrm>
          <a:prstGeom prst="rect">
            <a:avLst/>
          </a:prstGeom>
          <a:noFill/>
        </p:spPr>
      </p:pic>
      <p:sp>
        <p:nvSpPr>
          <p:cNvPr id="22" name="Textfeld 21"/>
          <p:cNvSpPr txBox="1"/>
          <p:nvPr/>
        </p:nvSpPr>
        <p:spPr>
          <a:xfrm>
            <a:off x="5617118" y="3282271"/>
            <a:ext cx="108395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0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de-DE" sz="12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cation</a:t>
            </a:r>
            <a:endParaRPr lang="de-DE" sz="27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3406546" y="1963012"/>
            <a:ext cx="100059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000" b="1" dirty="0" err="1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</a:t>
            </a:r>
            <a:r>
              <a:rPr lang="de-DE" sz="1350" b="1" dirty="0" err="1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riers</a:t>
            </a:r>
            <a:endParaRPr lang="de-DE" sz="1350" dirty="0"/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146677" y="1782243"/>
            <a:ext cx="924624" cy="1130942"/>
          </a:xfrm>
          <a:prstGeom prst="rect">
            <a:avLst/>
          </a:prstGeom>
          <a:noFill/>
        </p:spPr>
      </p:pic>
      <p:pic>
        <p:nvPicPr>
          <p:cNvPr id="1026" name="Picture 2" descr="K:\Projects\06_Pflege\Marketing\Projekt Pflege\09814_Dozentenportal\2017_Juni\Präsentationen\01_von Autoren\bearbeitet PT\Mauer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1375" y="1922092"/>
            <a:ext cx="945803" cy="632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36E2780-AAE9-4018-815E-53CC60557D92}"/>
              </a:ext>
            </a:extLst>
          </p:cNvPr>
          <p:cNvSpPr txBox="1">
            <a:spLocks/>
          </p:cNvSpPr>
          <p:nvPr/>
        </p:nvSpPr>
        <p:spPr>
          <a:xfrm>
            <a:off x="411264" y="4735974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9D63902-5DC8-C27E-11F6-2552E841A830}"/>
              </a:ext>
            </a:extLst>
          </p:cNvPr>
          <p:cNvSpPr txBox="1"/>
          <p:nvPr/>
        </p:nvSpPr>
        <p:spPr>
          <a:xfrm>
            <a:off x="4572000" y="4391749"/>
            <a:ext cx="3297595" cy="173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25" dirty="0"/>
              <a:t>Fotos von colourbox.com</a:t>
            </a:r>
            <a:r>
              <a:rPr lang="de-DE" sz="600" baseline="30000" dirty="0"/>
              <a:t>® </a:t>
            </a:r>
            <a:r>
              <a:rPr lang="de-DE" sz="525" dirty="0"/>
              <a:t>Elsevier GmbH, München</a:t>
            </a:r>
            <a:endParaRPr lang="en-US" sz="525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186DAEB-1643-59FE-FF0F-008F927A5B87}"/>
              </a:ext>
            </a:extLst>
          </p:cNvPr>
          <p:cNvSpPr txBox="1"/>
          <p:nvPr/>
        </p:nvSpPr>
        <p:spPr>
          <a:xfrm>
            <a:off x="4572000" y="4404852"/>
            <a:ext cx="3297595" cy="173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25" dirty="0"/>
              <a:t>Fotos von colourbox.com</a:t>
            </a:r>
            <a:r>
              <a:rPr lang="de-DE" sz="600" baseline="30000" dirty="0"/>
              <a:t>® </a:t>
            </a:r>
            <a:r>
              <a:rPr lang="de-DE" sz="525" dirty="0"/>
              <a:t>Elsevier GmbH, München</a:t>
            </a:r>
            <a:endParaRPr lang="en-US" sz="525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0" fill="hold"/>
                                        <p:tgtEl>
                                          <p:spTgt spid="20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0" fill="hold"/>
                                        <p:tgtEl>
                                          <p:spTgt spid="20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4" dur="5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 animBg="1"/>
      <p:bldP spid="10" grpId="0"/>
      <p:bldP spid="17" grpId="0"/>
      <p:bldP spid="22" grpId="0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31377" y="458590"/>
            <a:ext cx="7059840" cy="553432"/>
          </a:xfrm>
        </p:spPr>
        <p:txBody>
          <a:bodyPr>
            <a:normAutofit fontScale="90000"/>
          </a:bodyPr>
          <a:lstStyle/>
          <a:p>
            <a:pPr>
              <a:tabLst>
                <a:tab pos="807244" algn="l"/>
              </a:tabLst>
            </a:pPr>
            <a:r>
              <a:rPr lang="de-DE" dirty="0"/>
              <a:t>6. Therapeutische und prophylaktische Maßnahmen	</a:t>
            </a:r>
            <a:br>
              <a:rPr lang="de-DE" dirty="0"/>
            </a:br>
            <a:r>
              <a:rPr lang="de-DE" sz="1350" dirty="0"/>
              <a:t>6.1 A = Air (Luft)</a:t>
            </a:r>
            <a:br>
              <a:rPr lang="de-DE" sz="1350" dirty="0"/>
            </a:br>
            <a:endParaRPr lang="de-DE" sz="1350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727587" y="1222961"/>
            <a:ext cx="6937051" cy="3391636"/>
          </a:xfrm>
        </p:spPr>
        <p:txBody>
          <a:bodyPr>
            <a:normAutofit fontScale="92500" lnSpcReduction="20000"/>
          </a:bodyPr>
          <a:lstStyle/>
          <a:p>
            <a:r>
              <a:rPr lang="de-DE" dirty="0"/>
              <a:t>Beseitigung der Okklusion </a:t>
            </a:r>
            <a:r>
              <a:rPr lang="de-DE" dirty="0">
                <a:sym typeface="Wingdings" pitchFamily="2" charset="2"/>
              </a:rPr>
              <a:t>ständig feuchter Kontakt in einer luftdichten Windel bildet eine Feuchtkammer, die die Haut aufweicht und wund werden lässt.</a:t>
            </a:r>
          </a:p>
          <a:p>
            <a:pPr lvl="1"/>
            <a:r>
              <a:rPr lang="de-DE" sz="1500" dirty="0">
                <a:sym typeface="Wingdings" pitchFamily="2" charset="2"/>
              </a:rPr>
              <a:t>möglichst viel Luft an das Gesäß lassen! </a:t>
            </a:r>
          </a:p>
          <a:p>
            <a:pPr lvl="1"/>
            <a:r>
              <a:rPr lang="de-DE" sz="1500" dirty="0">
                <a:sym typeface="Wingdings" pitchFamily="2" charset="2"/>
              </a:rPr>
              <a:t>offen wickeln</a:t>
            </a:r>
          </a:p>
          <a:p>
            <a:pPr lvl="1"/>
            <a:r>
              <a:rPr lang="de-DE" sz="1500" dirty="0">
                <a:sym typeface="Wingdings" pitchFamily="2" charset="2"/>
              </a:rPr>
              <a:t>Baby zeitweise ohne Windel belassen </a:t>
            </a:r>
            <a:br>
              <a:rPr lang="de-DE" sz="1500" dirty="0">
                <a:sym typeface="Wingdings" pitchFamily="2" charset="2"/>
              </a:rPr>
            </a:br>
            <a:r>
              <a:rPr lang="de-DE" sz="1500" dirty="0">
                <a:sym typeface="Wingdings" pitchFamily="2" charset="2"/>
              </a:rPr>
              <a:t>(dann vor dem Auskühlen schützen!)</a:t>
            </a:r>
          </a:p>
          <a:p>
            <a:pPr>
              <a:spcBef>
                <a:spcPts val="900"/>
              </a:spcBef>
            </a:pPr>
            <a:r>
              <a:rPr lang="de-DE" dirty="0">
                <a:sym typeface="Wingdings" pitchFamily="2" charset="2"/>
              </a:rPr>
              <a:t>mehrmals am Tag die Windeln wechseln</a:t>
            </a:r>
          </a:p>
          <a:p>
            <a:pPr lvl="1"/>
            <a:r>
              <a:rPr lang="de-DE" sz="1500" dirty="0">
                <a:sym typeface="Wingdings" pitchFamily="2" charset="2"/>
              </a:rPr>
              <a:t>alle 3</a:t>
            </a:r>
            <a:r>
              <a:rPr lang="de-DE" sz="1500" dirty="0"/>
              <a:t>–</a:t>
            </a:r>
            <a:r>
              <a:rPr lang="de-DE" sz="1500" dirty="0">
                <a:sym typeface="Wingdings" pitchFamily="2" charset="2"/>
              </a:rPr>
              <a:t>4 Stunden</a:t>
            </a:r>
          </a:p>
          <a:p>
            <a:pPr lvl="1"/>
            <a:r>
              <a:rPr lang="de-DE" sz="1500" dirty="0">
                <a:sym typeface="Wingdings" pitchFamily="2" charset="2"/>
              </a:rPr>
              <a:t>bei Bemerken einer „vollen“ Windel sofort wechseln</a:t>
            </a:r>
          </a:p>
          <a:p>
            <a:pPr>
              <a:spcBef>
                <a:spcPts val="900"/>
              </a:spcBef>
            </a:pPr>
            <a:r>
              <a:rPr lang="de-DE" dirty="0">
                <a:sym typeface="Wingdings" pitchFamily="2" charset="2"/>
              </a:rPr>
              <a:t>Die Windel nicht zu fest anlegen </a:t>
            </a:r>
            <a:br>
              <a:rPr lang="de-DE" dirty="0">
                <a:sym typeface="Wingdings" pitchFamily="2" charset="2"/>
              </a:rPr>
            </a:br>
            <a:r>
              <a:rPr lang="de-DE" dirty="0">
                <a:sym typeface="Wingdings" pitchFamily="2" charset="2"/>
              </a:rPr>
              <a:t> so kann sich weniger Wärme stauen.</a:t>
            </a:r>
          </a:p>
          <a:p>
            <a:endParaRPr lang="de-DE" dirty="0">
              <a:sym typeface="Wingdings" pitchFamily="2" charset="2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005921" y="388277"/>
            <a:ext cx="844300" cy="694058"/>
          </a:xfrm>
          <a:prstGeom prst="rect">
            <a:avLst/>
          </a:prstGeom>
          <a:noFill/>
        </p:spPr>
      </p:pic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B0ADA469-B1A7-94B7-C948-250FBA5FB764}"/>
              </a:ext>
            </a:extLst>
          </p:cNvPr>
          <p:cNvSpPr txBox="1">
            <a:spLocks/>
          </p:cNvSpPr>
          <p:nvPr/>
        </p:nvSpPr>
        <p:spPr>
          <a:xfrm>
            <a:off x="457199" y="4766902"/>
            <a:ext cx="7900219" cy="313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151" defTabSz="685800">
              <a:lnSpc>
                <a:spcPct val="80000"/>
              </a:lnSpc>
              <a:spcAft>
                <a:spcPts val="600"/>
              </a:spcAft>
              <a:buClr>
                <a:srgbClr val="FF6C00"/>
              </a:buClr>
              <a:tabLst>
                <a:tab pos="266700" algn="l"/>
              </a:tabLst>
            </a:pP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Erstellt durch Birgit </a:t>
            </a:r>
            <a:r>
              <a:rPr lang="de-DE" sz="900" dirty="0" err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Gwuzdz</a:t>
            </a:r>
            <a:r>
              <a:rPr lang="de-DE" sz="900" dirty="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© Elsevier GmbH, München 2022                         ClinicalKey Student für die Pflege - www.clinicalkey.vom/student/nursing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2057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F7D232A5-E476-470D-8B9F-7DF57FFBA801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F0BD70AD-5EFD-46BE-B9CF-4081C5AD7863}"/>
    </a:ext>
  </a:extLst>
</a:theme>
</file>

<file path=ppt/theme/theme4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91A861E9-5B38-4BD0-B058-E89188F8319A}"/>
    </a:ext>
  </a:extLst>
</a:theme>
</file>

<file path=ppt/theme/theme5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A827AD72-1E3C-496B-A642-4C319537B57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LS_PPT_20211117</Template>
  <TotalTime>0</TotalTime>
  <Words>1755</Words>
  <Application>Microsoft Office PowerPoint</Application>
  <PresentationFormat>Bildschirmpräsentation (16:9)</PresentationFormat>
  <Paragraphs>152</Paragraphs>
  <Slides>15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5</vt:i4>
      </vt:variant>
      <vt:variant>
        <vt:lpstr>Folientitel</vt:lpstr>
      </vt:variant>
      <vt:variant>
        <vt:i4>15</vt:i4>
      </vt:variant>
    </vt:vector>
  </HeadingPairs>
  <TitlesOfParts>
    <vt:vector size="25" baseType="lpstr">
      <vt:lpstr>Arial</vt:lpstr>
      <vt:lpstr>Arial Bold</vt:lpstr>
      <vt:lpstr>Calibri</vt:lpstr>
      <vt:lpstr>Calibri Light</vt:lpstr>
      <vt:lpstr>Courier New</vt:lpstr>
      <vt:lpstr>Elsevier light</vt:lpstr>
      <vt:lpstr>Benutzerdefiniertes Design</vt:lpstr>
      <vt:lpstr>Elsevier light - Charts and Data</vt:lpstr>
      <vt:lpstr>Elsevier dark</vt:lpstr>
      <vt:lpstr>Elsevier dark - Charts and Data</vt:lpstr>
      <vt:lpstr>Prophylaxe „Windeldermatitis” – Inkontinenzassoziierte  Dermatitis bei Kindern</vt:lpstr>
      <vt:lpstr>Gliederung</vt:lpstr>
      <vt:lpstr>1. Begriffserklärungen</vt:lpstr>
      <vt:lpstr>2. Definition</vt:lpstr>
      <vt:lpstr>3. Ursachen und Einflussfaktoren</vt:lpstr>
      <vt:lpstr>4. Risikofaktoren</vt:lpstr>
      <vt:lpstr>5. Symptome</vt:lpstr>
      <vt:lpstr>6. Therapeutische und prophylaktische Maßnahmen</vt:lpstr>
      <vt:lpstr>6. Therapeutische und prophylaktische Maßnahmen  6.1 A = Air (Luft) </vt:lpstr>
      <vt:lpstr> 6. Therapeutische und prophylaktische Maßnahmen 6.2 B = Barriers (Barriere)</vt:lpstr>
      <vt:lpstr>6. Therapeutische und prophylaktische Maßnahmen 6.3 C = Cleansings (Reinigung)</vt:lpstr>
      <vt:lpstr>6. Therapeutische und prophylaktische Maßnahmen 6.4 D = Diapers (Windeln)</vt:lpstr>
      <vt:lpstr>6. Therapeutische und prophylaktische Maßnahmen 6.5 E = Education (Bildung/Aufklärung)</vt:lpstr>
      <vt:lpstr>7. Wiederholungsfragen </vt:lpstr>
      <vt:lpstr>7. Literatur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Gaertner, Martina (ELS-MUN)</dc:creator>
  <cp:lastModifiedBy>Gaertner, Martina (ELS-MUN)</cp:lastModifiedBy>
  <cp:revision>15</cp:revision>
  <cp:lastPrinted>2018-07-23T12:36:44Z</cp:lastPrinted>
  <dcterms:created xsi:type="dcterms:W3CDTF">2021-11-29T14:25:03Z</dcterms:created>
  <dcterms:modified xsi:type="dcterms:W3CDTF">2022-08-10T14:02:49Z</dcterms:modified>
  <cp:version>1.0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1-11-29T14:25:05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2b3c2314-40a2-4a54-be4b-7b3259bd84c9</vt:lpwstr>
  </property>
  <property fmtid="{D5CDD505-2E9C-101B-9397-08002B2CF9AE}" pid="9" name="MSIP_Label_549ac42a-3eb4-4074-b885-aea26bd6241e_ContentBits">
    <vt:lpwstr>0</vt:lpwstr>
  </property>
</Properties>
</file>